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heme/themeOverride1.xml" ContentType="application/vnd.openxmlformats-officedocument.themeOverride+xml"/>
  <Override PartName="/ppt/charts/chart34.xml" ContentType="application/vnd.openxmlformats-officedocument.drawingml.chart+xml"/>
  <Override PartName="/ppt/theme/themeOverride2.xml" ContentType="application/vnd.openxmlformats-officedocument.themeOverride+xml"/>
  <Override PartName="/ppt/charts/chart35.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6.xml" ContentType="application/vnd.openxmlformats-officedocument.drawingml.chart+xml"/>
  <Override PartName="/ppt/theme/themeOverride3.xml" ContentType="application/vnd.openxmlformats-officedocument.themeOverride+xml"/>
  <Override PartName="/ppt/charts/chart37.xml" ContentType="application/vnd.openxmlformats-officedocument.drawingml.chart+xml"/>
  <Override PartName="/ppt/theme/themeOverride4.xml" ContentType="application/vnd.openxmlformats-officedocument.themeOverride+xml"/>
  <Override PartName="/ppt/charts/chart38.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9.xml" ContentType="application/vnd.openxmlformats-officedocument.drawingml.chart+xml"/>
  <Override PartName="/ppt/theme/themeOverride5.xml" ContentType="application/vnd.openxmlformats-officedocument.themeOverride+xml"/>
  <Override PartName="/ppt/charts/chart40.xml" ContentType="application/vnd.openxmlformats-officedocument.drawingml.chart+xml"/>
  <Override PartName="/ppt/theme/themeOverride6.xml" ContentType="application/vnd.openxmlformats-officedocument.themeOverride+xml"/>
  <Override PartName="/ppt/charts/chart41.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42.xml" ContentType="application/vnd.openxmlformats-officedocument.drawingml.chart+xml"/>
  <Override PartName="/ppt/theme/themeOverride7.xml" ContentType="application/vnd.openxmlformats-officedocument.themeOverride+xml"/>
  <Override PartName="/ppt/charts/chart43.xml" ContentType="application/vnd.openxmlformats-officedocument.drawingml.chart+xml"/>
  <Override PartName="/ppt/theme/themeOverride8.xml" ContentType="application/vnd.openxmlformats-officedocument.themeOverride+xml"/>
  <Override PartName="/ppt/charts/chart44.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tags/tag65.xml" ContentType="application/vnd.openxmlformats-officedocument.presentationml.tags+xml"/>
  <Override PartName="/ppt/notesSlides/notesSlide38.xml" ContentType="application/vnd.openxmlformats-officedocument.presentationml.notesSlide+xml"/>
  <Override PartName="/ppt/tags/tag66.xml" ContentType="application/vnd.openxmlformats-officedocument.presentationml.tags+xml"/>
  <Override PartName="/ppt/notesSlides/notesSlide39.xml" ContentType="application/vnd.openxmlformats-officedocument.presentationml.notesSlide+xml"/>
  <Override PartName="/ppt/tags/tag67.xml" ContentType="application/vnd.openxmlformats-officedocument.presentationml.tags+xml"/>
  <Override PartName="/ppt/notesSlides/notesSlide40.xml" ContentType="application/vnd.openxmlformats-officedocument.presentationml.notesSlide+xml"/>
  <Override PartName="/ppt/tags/tag68.xml" ContentType="application/vnd.openxmlformats-officedocument.presentationml.tags+xml"/>
  <Override PartName="/ppt/notesSlides/notesSlide41.xml" ContentType="application/vnd.openxmlformats-officedocument.presentationml.notesSlide+xml"/>
  <Override PartName="/ppt/tags/tag69.xml" ContentType="application/vnd.openxmlformats-officedocument.presentationml.tags+xml"/>
  <Override PartName="/ppt/notesSlides/notesSlide42.xml" ContentType="application/vnd.openxmlformats-officedocument.presentationml.notesSlide+xml"/>
  <Override PartName="/ppt/tags/tag70.xml" ContentType="application/vnd.openxmlformats-officedocument.presentationml.tags+xml"/>
  <Override PartName="/ppt/notesSlides/notesSlide43.xml" ContentType="application/vnd.openxmlformats-officedocument.presentationml.notesSlide+xml"/>
  <Override PartName="/ppt/tags/tag71.xml" ContentType="application/vnd.openxmlformats-officedocument.presentationml.tags+xml"/>
  <Override PartName="/ppt/notesSlides/notesSlide44.xml" ContentType="application/vnd.openxmlformats-officedocument.presentationml.notesSlide+xml"/>
  <Override PartName="/ppt/tags/tag72.xml" ContentType="application/vnd.openxmlformats-officedocument.presentationml.tags+xml"/>
  <Override PartName="/ppt/notesSlides/notesSlide45.xml" ContentType="application/vnd.openxmlformats-officedocument.presentationml.notesSlide+xml"/>
  <Override PartName="/ppt/tags/tag73.xml" ContentType="application/vnd.openxmlformats-officedocument.presentationml.tags+xml"/>
  <Override PartName="/ppt/notesSlides/notesSlide46.xml" ContentType="application/vnd.openxmlformats-officedocument.presentationml.notesSlide+xml"/>
  <Override PartName="/ppt/tags/tag74.xml" ContentType="application/vnd.openxmlformats-officedocument.presentationml.tags+xml"/>
  <Override PartName="/ppt/notesSlides/notesSlide47.xml" ContentType="application/vnd.openxmlformats-officedocument.presentationml.notesSlide+xml"/>
  <Override PartName="/ppt/tags/tag75.xml" ContentType="application/vnd.openxmlformats-officedocument.presentationml.tags+xml"/>
  <Override PartName="/ppt/notesSlides/notesSlide48.xml" ContentType="application/vnd.openxmlformats-officedocument.presentationml.notesSlide+xml"/>
  <Override PartName="/ppt/tags/tag76.xml" ContentType="application/vnd.openxmlformats-officedocument.presentationml.tags+xml"/>
  <Override PartName="/ppt/notesSlides/notesSlide49.xml" ContentType="application/vnd.openxmlformats-officedocument.presentationml.notesSlide+xml"/>
  <Override PartName="/ppt/tags/tag77.xml" ContentType="application/vnd.openxmlformats-officedocument.presentationml.tags+xml"/>
  <Override PartName="/ppt/notesSlides/notesSlide50.xml" ContentType="application/vnd.openxmlformats-officedocument.presentationml.notesSlide+xml"/>
  <Override PartName="/ppt/tags/tag78.xml" ContentType="application/vnd.openxmlformats-officedocument.presentationml.tags+xml"/>
  <Override PartName="/ppt/notesSlides/notesSlide51.xml" ContentType="application/vnd.openxmlformats-officedocument.presentationml.notesSlide+xml"/>
  <Override PartName="/ppt/tags/tag79.xml" ContentType="application/vnd.openxmlformats-officedocument.presentationml.tags+xml"/>
  <Override PartName="/ppt/notesSlides/notesSlide52.xml" ContentType="application/vnd.openxmlformats-officedocument.presentationml.notesSlide+xml"/>
  <Override PartName="/ppt/tags/tag80.xml" ContentType="application/vnd.openxmlformats-officedocument.presentationml.tags+xml"/>
  <Override PartName="/ppt/notesSlides/notesSlide53.xml" ContentType="application/vnd.openxmlformats-officedocument.presentationml.notesSlide+xml"/>
  <Override PartName="/ppt/tags/tag81.xml" ContentType="application/vnd.openxmlformats-officedocument.presentationml.tags+xml"/>
  <Override PartName="/ppt/notesSlides/notesSlide54.xml" ContentType="application/vnd.openxmlformats-officedocument.presentationml.notesSlide+xml"/>
  <Override PartName="/ppt/tags/tag82.xml" ContentType="application/vnd.openxmlformats-officedocument.presentationml.tags+xml"/>
  <Override PartName="/ppt/notesSlides/notesSlide55.xml" ContentType="application/vnd.openxmlformats-officedocument.presentationml.notesSlide+xml"/>
  <Override PartName="/ppt/tags/tag83.xml" ContentType="application/vnd.openxmlformats-officedocument.presentationml.tags+xml"/>
  <Override PartName="/ppt/notesSlides/notesSlide56.xml" ContentType="application/vnd.openxmlformats-officedocument.presentationml.notesSlide+xml"/>
  <Override PartName="/ppt/tags/tag84.xml" ContentType="application/vnd.openxmlformats-officedocument.presentationml.tags+xml"/>
  <Override PartName="/ppt/notesSlides/notesSlide57.xml" ContentType="application/vnd.openxmlformats-officedocument.presentationml.notesSlide+xml"/>
  <Override PartName="/ppt/tags/tag85.xml" ContentType="application/vnd.openxmlformats-officedocument.presentationml.tags+xml"/>
  <Override PartName="/ppt/notesSlides/notesSlide58.xml" ContentType="application/vnd.openxmlformats-officedocument.presentationml.notesSlide+xml"/>
  <Override PartName="/ppt/tags/tag86.xml" ContentType="application/vnd.openxmlformats-officedocument.presentationml.tags+xml"/>
  <Override PartName="/ppt/notesSlides/notesSlide59.xml" ContentType="application/vnd.openxmlformats-officedocument.presentationml.notesSlide+xml"/>
  <Override PartName="/ppt/tags/tag87.xml" ContentType="application/vnd.openxmlformats-officedocument.presentationml.tags+xml"/>
  <Override PartName="/ppt/notesSlides/notesSlide60.xml" ContentType="application/vnd.openxmlformats-officedocument.presentationml.notesSlide+xml"/>
  <Override PartName="/ppt/tags/tag88.xml" ContentType="application/vnd.openxmlformats-officedocument.presentationml.tags+xml"/>
  <Override PartName="/ppt/notesSlides/notesSlide61.xml" ContentType="application/vnd.openxmlformats-officedocument.presentationml.notesSlide+xml"/>
  <Override PartName="/ppt/tags/tag89.xml" ContentType="application/vnd.openxmlformats-officedocument.presentationml.tags+xml"/>
  <Override PartName="/ppt/notesSlides/notesSlide62.xml" ContentType="application/vnd.openxmlformats-officedocument.presentationml.notesSlide+xml"/>
  <Override PartName="/ppt/tags/tag90.xml" ContentType="application/vnd.openxmlformats-officedocument.presentationml.tags+xml"/>
  <Override PartName="/ppt/notesSlides/notesSlide63.xml" ContentType="application/vnd.openxmlformats-officedocument.presentationml.notesSlide+xml"/>
  <Override PartName="/ppt/tags/tag91.xml" ContentType="application/vnd.openxmlformats-officedocument.presentationml.tags+xml"/>
  <Override PartName="/ppt/notesSlides/notesSlide64.xml" ContentType="application/vnd.openxmlformats-officedocument.presentationml.notesSlide+xml"/>
  <Override PartName="/ppt/tags/tag92.xml" ContentType="application/vnd.openxmlformats-officedocument.presentationml.tags+xml"/>
  <Override PartName="/ppt/notesSlides/notesSlide65.xml" ContentType="application/vnd.openxmlformats-officedocument.presentationml.notesSlide+xml"/>
  <Override PartName="/ppt/tags/tag93.xml" ContentType="application/vnd.openxmlformats-officedocument.presentationml.tags+xml"/>
  <Override PartName="/ppt/notesSlides/notesSlide66.xml" ContentType="application/vnd.openxmlformats-officedocument.presentationml.notesSlide+xml"/>
  <Override PartName="/ppt/tags/tag94.xml" ContentType="application/vnd.openxmlformats-officedocument.presentationml.tags+xml"/>
  <Override PartName="/ppt/notesSlides/notesSlide67.xml" ContentType="application/vnd.openxmlformats-officedocument.presentationml.notesSlide+xml"/>
  <Override PartName="/ppt/tags/tag95.xml" ContentType="application/vnd.openxmlformats-officedocument.presentationml.tags+xml"/>
  <Override PartName="/ppt/notesSlides/notesSlide68.xml" ContentType="application/vnd.openxmlformats-officedocument.presentationml.notesSlide+xml"/>
  <Override PartName="/ppt/tags/tag96.xml" ContentType="application/vnd.openxmlformats-officedocument.presentationml.tags+xml"/>
  <Override PartName="/ppt/notesSlides/notesSlide69.xml" ContentType="application/vnd.openxmlformats-officedocument.presentationml.notesSlide+xml"/>
  <Override PartName="/ppt/tags/tag97.xml" ContentType="application/vnd.openxmlformats-officedocument.presentationml.tags+xml"/>
  <Override PartName="/ppt/notesSlides/notesSlide70.xml" ContentType="application/vnd.openxmlformats-officedocument.presentationml.notesSlide+xml"/>
  <Override PartName="/ppt/tags/tag98.xml" ContentType="application/vnd.openxmlformats-officedocument.presentationml.tags+xml"/>
  <Override PartName="/ppt/notesSlides/notesSlide71.xml" ContentType="application/vnd.openxmlformats-officedocument.presentationml.notesSlide+xml"/>
  <Override PartName="/ppt/tags/tag99.xml" ContentType="application/vnd.openxmlformats-officedocument.presentationml.tags+xml"/>
  <Override PartName="/ppt/notesSlides/notesSlide72.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harts/chart45.xml" ContentType="application/vnd.openxmlformats-officedocument.drawingml.chart+xml"/>
  <Override PartName="/ppt/charts/style1.xml" ContentType="application/vnd.ms-office.chartstyle+xml"/>
  <Override PartName="/ppt/charts/colors1.xml" ContentType="application/vnd.ms-office.chartcolorstyle+xml"/>
  <Override PartName="/ppt/tags/tag107.xml" ContentType="application/vnd.openxmlformats-officedocument.presentationml.tags+xml"/>
  <Override PartName="/ppt/charts/chart46.xml" ContentType="application/vnd.openxmlformats-officedocument.drawingml.chart+xml"/>
  <Override PartName="/ppt/charts/style2.xml" ContentType="application/vnd.ms-office.chartstyle+xml"/>
  <Override PartName="/ppt/charts/colors2.xml" ContentType="application/vnd.ms-office.chartcolorstyle+xml"/>
  <Override PartName="/ppt/tags/tag108.xml" ContentType="application/vnd.openxmlformats-officedocument.presentationml.tags+xml"/>
  <Override PartName="/ppt/charts/chart47.xml" ContentType="application/vnd.openxmlformats-officedocument.drawingml.chart+xml"/>
  <Override PartName="/ppt/charts/style3.xml" ContentType="application/vnd.ms-office.chartstyle+xml"/>
  <Override PartName="/ppt/charts/colors3.xml" ContentType="application/vnd.ms-office.chartcolorstyle+xml"/>
  <Override PartName="/ppt/tags/tag109.xml" ContentType="application/vnd.openxmlformats-officedocument.presentationml.tags+xml"/>
  <Override PartName="/ppt/charts/chart48.xml" ContentType="application/vnd.openxmlformats-officedocument.drawingml.chart+xml"/>
  <Override PartName="/ppt/charts/style4.xml" ContentType="application/vnd.ms-office.chartstyle+xml"/>
  <Override PartName="/ppt/charts/colors4.xml" ContentType="application/vnd.ms-office.chartcolorstyle+xml"/>
  <Override PartName="/ppt/tags/tag110.xml" ContentType="application/vnd.openxmlformats-officedocument.presentationml.tags+xml"/>
  <Override PartName="/ppt/charts/chart49.xml" ContentType="application/vnd.openxmlformats-officedocument.drawingml.chart+xml"/>
  <Override PartName="/ppt/charts/style5.xml" ContentType="application/vnd.ms-office.chartstyle+xml"/>
  <Override PartName="/ppt/charts/colors5.xml" ContentType="application/vnd.ms-office.chartcolorstyle+xml"/>
  <Override PartName="/ppt/tags/tag111.xml" ContentType="application/vnd.openxmlformats-officedocument.presentationml.tags+xml"/>
  <Override PartName="/ppt/charts/chart50.xml" ContentType="application/vnd.openxmlformats-officedocument.drawingml.chart+xml"/>
  <Override PartName="/ppt/charts/style6.xml" ContentType="application/vnd.ms-office.chartstyle+xml"/>
  <Override PartName="/ppt/charts/colors6.xml" ContentType="application/vnd.ms-office.chartcolorstyle+xml"/>
  <Override PartName="/ppt/tags/tag112.xml" ContentType="application/vnd.openxmlformats-officedocument.presentationml.tags+xml"/>
  <Override PartName="/ppt/charts/chart51.xml" ContentType="application/vnd.openxmlformats-officedocument.drawingml.chart+xml"/>
  <Override PartName="/ppt/charts/style7.xml" ContentType="application/vnd.ms-office.chartstyle+xml"/>
  <Override PartName="/ppt/charts/colors7.xml" ContentType="application/vnd.ms-office.chartcolorstyle+xml"/>
  <Override PartName="/ppt/tags/tag113.xml" ContentType="application/vnd.openxmlformats-officedocument.presentationml.tags+xml"/>
  <Override PartName="/ppt/charts/chart52.xml" ContentType="application/vnd.openxmlformats-officedocument.drawingml.chart+xml"/>
  <Override PartName="/ppt/charts/style8.xml" ContentType="application/vnd.ms-office.chartstyle+xml"/>
  <Override PartName="/ppt/charts/colors8.xml" ContentType="application/vnd.ms-office.chartcolorstyle+xml"/>
  <Override PartName="/ppt/tags/tag114.xml" ContentType="application/vnd.openxmlformats-officedocument.presentationml.tags+xml"/>
  <Override PartName="/ppt/charts/chart53.xml" ContentType="application/vnd.openxmlformats-officedocument.drawingml.chart+xml"/>
  <Override PartName="/ppt/charts/style9.xml" ContentType="application/vnd.ms-office.chartstyle+xml"/>
  <Override PartName="/ppt/charts/colors9.xml" ContentType="application/vnd.ms-office.chartcolorstyle+xml"/>
  <Override PartName="/ppt/tags/tag115.xml" ContentType="application/vnd.openxmlformats-officedocument.presentationml.tags+xml"/>
  <Override PartName="/ppt/charts/chart54.xml" ContentType="application/vnd.openxmlformats-officedocument.drawingml.chart+xml"/>
  <Override PartName="/ppt/charts/style10.xml" ContentType="application/vnd.ms-office.chartstyle+xml"/>
  <Override PartName="/ppt/charts/colors10.xml" ContentType="application/vnd.ms-office.chartcolorstyle+xml"/>
  <Override PartName="/ppt/tags/tag116.xml" ContentType="application/vnd.openxmlformats-officedocument.presentationml.tags+xml"/>
  <Override PartName="/ppt/charts/chart55.xml" ContentType="application/vnd.openxmlformats-officedocument.drawingml.chart+xml"/>
  <Override PartName="/ppt/charts/style11.xml" ContentType="application/vnd.ms-office.chartstyle+xml"/>
  <Override PartName="/ppt/charts/colors11.xml" ContentType="application/vnd.ms-office.chartcolorstyle+xml"/>
  <Override PartName="/ppt/tags/tag117.xml" ContentType="application/vnd.openxmlformats-officedocument.presentationml.tags+xml"/>
  <Override PartName="/ppt/charts/chart56.xml" ContentType="application/vnd.openxmlformats-officedocument.drawingml.chart+xml"/>
  <Override PartName="/ppt/charts/style12.xml" ContentType="application/vnd.ms-office.chartstyle+xml"/>
  <Override PartName="/ppt/charts/colors12.xml" ContentType="application/vnd.ms-office.chartcolorstyle+xml"/>
  <Override PartName="/ppt/tags/tag118.xml" ContentType="application/vnd.openxmlformats-officedocument.presentationml.tags+xml"/>
  <Override PartName="/ppt/charts/chart57.xml" ContentType="application/vnd.openxmlformats-officedocument.drawingml.chart+xml"/>
  <Override PartName="/ppt/charts/style13.xml" ContentType="application/vnd.ms-office.chartstyle+xml"/>
  <Override PartName="/ppt/charts/colors13.xml" ContentType="application/vnd.ms-office.chartcolorstyle+xml"/>
  <Override PartName="/ppt/tags/tag119.xml" ContentType="application/vnd.openxmlformats-officedocument.presentationml.tags+xml"/>
  <Override PartName="/ppt/charts/chart58.xml" ContentType="application/vnd.openxmlformats-officedocument.drawingml.chart+xml"/>
  <Override PartName="/ppt/charts/style14.xml" ContentType="application/vnd.ms-office.chartstyle+xml"/>
  <Override PartName="/ppt/charts/colors14.xml" ContentType="application/vnd.ms-office.chartcolorstyle+xml"/>
  <Override PartName="/ppt/tags/tag120.xml" ContentType="application/vnd.openxmlformats-officedocument.presentationml.tags+xml"/>
  <Override PartName="/ppt/charts/chart59.xml" ContentType="application/vnd.openxmlformats-officedocument.drawingml.chart+xml"/>
  <Override PartName="/ppt/charts/style15.xml" ContentType="application/vnd.ms-office.chartstyle+xml"/>
  <Override PartName="/ppt/charts/colors15.xml" ContentType="application/vnd.ms-office.chartcolorstyle+xml"/>
  <Override PartName="/ppt/tags/tag121.xml" ContentType="application/vnd.openxmlformats-officedocument.presentationml.tags+xml"/>
  <Override PartName="/ppt/charts/chart60.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charts/chart61.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charts/chart62.xml" ContentType="application/vnd.openxmlformats-officedocument.drawingml.chart+xml"/>
  <Override PartName="/ppt/charts/style18.xml" ContentType="application/vnd.ms-office.chartstyle+xml"/>
  <Override PartName="/ppt/charts/colors18.xml" ContentType="application/vnd.ms-office.chartcolorstyle+xml"/>
  <Override PartName="/ppt/tags/tag124.xml" ContentType="application/vnd.openxmlformats-officedocument.presentationml.tags+xml"/>
  <Override PartName="/ppt/charts/chart63.xml" ContentType="application/vnd.openxmlformats-officedocument.drawingml.chart+xml"/>
  <Override PartName="/ppt/charts/style19.xml" ContentType="application/vnd.ms-office.chartstyle+xml"/>
  <Override PartName="/ppt/charts/colors19.xml" ContentType="application/vnd.ms-office.chartcolorstyle+xml"/>
  <Override PartName="/ppt/tags/tag125.xml" ContentType="application/vnd.openxmlformats-officedocument.presentationml.tags+xml"/>
  <Override PartName="/ppt/charts/chart64.xml" ContentType="application/vnd.openxmlformats-officedocument.drawingml.chart+xml"/>
  <Override PartName="/ppt/charts/style20.xml" ContentType="application/vnd.ms-office.chartstyle+xml"/>
  <Override PartName="/ppt/charts/colors20.xml" ContentType="application/vnd.ms-office.chartcolorstyle+xml"/>
  <Override PartName="/ppt/tags/tag126.xml" ContentType="application/vnd.openxmlformats-officedocument.presentationml.tags+xml"/>
  <Override PartName="/ppt/charts/chart65.xml" ContentType="application/vnd.openxmlformats-officedocument.drawingml.chart+xml"/>
  <Override PartName="/ppt/charts/style21.xml" ContentType="application/vnd.ms-office.chartstyle+xml"/>
  <Override PartName="/ppt/charts/colors21.xml" ContentType="application/vnd.ms-office.chartcolorstyle+xml"/>
  <Override PartName="/ppt/tags/tag127.xml" ContentType="application/vnd.openxmlformats-officedocument.presentationml.tags+xml"/>
  <Override PartName="/ppt/charts/chart66.xml" ContentType="application/vnd.openxmlformats-officedocument.drawingml.chart+xml"/>
  <Override PartName="/ppt/charts/style22.xml" ContentType="application/vnd.ms-office.chartstyle+xml"/>
  <Override PartName="/ppt/charts/colors22.xml" ContentType="application/vnd.ms-office.chartcolorstyle+xml"/>
  <Override PartName="/ppt/tags/tag128.xml" ContentType="application/vnd.openxmlformats-officedocument.presentationml.tags+xml"/>
  <Override PartName="/ppt/charts/chart67.xml" ContentType="application/vnd.openxmlformats-officedocument.drawingml.chart+xml"/>
  <Override PartName="/ppt/charts/style23.xml" ContentType="application/vnd.ms-office.chartstyle+xml"/>
  <Override PartName="/ppt/charts/colors23.xml" ContentType="application/vnd.ms-office.chartcolorstyle+xml"/>
  <Override PartName="/ppt/tags/tag129.xml" ContentType="application/vnd.openxmlformats-officedocument.presentationml.tags+xml"/>
  <Override PartName="/ppt/charts/chart68.xml" ContentType="application/vnd.openxmlformats-officedocument.drawingml.chart+xml"/>
  <Override PartName="/ppt/charts/style24.xml" ContentType="application/vnd.ms-office.chartstyle+xml"/>
  <Override PartName="/ppt/charts/colors24.xml" ContentType="application/vnd.ms-office.chartcolorstyle+xml"/>
  <Override PartName="/ppt/tags/tag130.xml" ContentType="application/vnd.openxmlformats-officedocument.presentationml.tags+xml"/>
  <Override PartName="/ppt/charts/chart69.xml" ContentType="application/vnd.openxmlformats-officedocument.drawingml.chart+xml"/>
  <Override PartName="/ppt/charts/style25.xml" ContentType="application/vnd.ms-office.chartstyle+xml"/>
  <Override PartName="/ppt/charts/colors25.xml" ContentType="application/vnd.ms-office.chartcolorstyle+xml"/>
  <Override PartName="/ppt/tags/tag131.xml" ContentType="application/vnd.openxmlformats-officedocument.presentationml.tags+xml"/>
  <Override PartName="/ppt/charts/chart70.xml" ContentType="application/vnd.openxmlformats-officedocument.drawingml.chart+xml"/>
  <Override PartName="/ppt/charts/style26.xml" ContentType="application/vnd.ms-office.chartstyle+xml"/>
  <Override PartName="/ppt/charts/colors26.xml" ContentType="application/vnd.ms-office.chartcolorstyle+xml"/>
  <Override PartName="/ppt/tags/tag132.xml" ContentType="application/vnd.openxmlformats-officedocument.presentationml.tags+xml"/>
  <Override PartName="/ppt/charts/chart71.xml" ContentType="application/vnd.openxmlformats-officedocument.drawingml.chart+xml"/>
  <Override PartName="/ppt/charts/style27.xml" ContentType="application/vnd.ms-office.chartstyle+xml"/>
  <Override PartName="/ppt/charts/colors27.xml" ContentType="application/vnd.ms-office.chartcolorstyle+xml"/>
  <Override PartName="/ppt/tags/tag133.xml" ContentType="application/vnd.openxmlformats-officedocument.presentationml.tags+xml"/>
  <Override PartName="/ppt/charts/chart72.xml" ContentType="application/vnd.openxmlformats-officedocument.drawingml.chart+xml"/>
  <Override PartName="/ppt/charts/style28.xml" ContentType="application/vnd.ms-office.chartstyle+xml"/>
  <Override PartName="/ppt/charts/colors28.xml" ContentType="application/vnd.ms-office.chartcolorstyle+xml"/>
  <Override PartName="/ppt/tags/tag134.xml" ContentType="application/vnd.openxmlformats-officedocument.presentationml.tags+xml"/>
  <Override PartName="/ppt/charts/chart73.xml" ContentType="application/vnd.openxmlformats-officedocument.drawingml.chart+xml"/>
  <Override PartName="/ppt/charts/style29.xml" ContentType="application/vnd.ms-office.chartstyle+xml"/>
  <Override PartName="/ppt/charts/colors29.xml" ContentType="application/vnd.ms-office.chartcolorstyle+xml"/>
  <Override PartName="/ppt/tags/tag135.xml" ContentType="application/vnd.openxmlformats-officedocument.presentationml.tags+xml"/>
  <Override PartName="/ppt/charts/chart74.xml" ContentType="application/vnd.openxmlformats-officedocument.drawingml.chart+xml"/>
  <Override PartName="/ppt/charts/style30.xml" ContentType="application/vnd.ms-office.chartstyle+xml"/>
  <Override PartName="/ppt/charts/colors30.xml" ContentType="application/vnd.ms-office.chartcolorstyle+xml"/>
  <Override PartName="/ppt/tags/tag136.xml" ContentType="application/vnd.openxmlformats-officedocument.presentationml.tags+xml"/>
  <Override PartName="/ppt/charts/chart75.xml" ContentType="application/vnd.openxmlformats-officedocument.drawingml.chart+xml"/>
  <Override PartName="/ppt/charts/style31.xml" ContentType="application/vnd.ms-office.chartstyle+xml"/>
  <Override PartName="/ppt/charts/colors31.xml" ContentType="application/vnd.ms-office.chartcolorstyle+xml"/>
  <Override PartName="/ppt/tags/tag137.xml" ContentType="application/vnd.openxmlformats-officedocument.presentationml.tags+xml"/>
  <Override PartName="/ppt/charts/chart76.xml" ContentType="application/vnd.openxmlformats-officedocument.drawingml.chart+xml"/>
  <Override PartName="/ppt/charts/style32.xml" ContentType="application/vnd.ms-office.chartstyle+xml"/>
  <Override PartName="/ppt/charts/colors32.xml" ContentType="application/vnd.ms-office.chartcolorstyle+xml"/>
  <Override PartName="/ppt/tags/tag138.xml" ContentType="application/vnd.openxmlformats-officedocument.presentationml.tags+xml"/>
  <Override PartName="/ppt/charts/chart77.xml" ContentType="application/vnd.openxmlformats-officedocument.drawingml.chart+xml"/>
  <Override PartName="/ppt/charts/style33.xml" ContentType="application/vnd.ms-office.chartstyle+xml"/>
  <Override PartName="/ppt/charts/colors33.xml" ContentType="application/vnd.ms-office.chartcolorstyle+xml"/>
  <Override PartName="/ppt/tags/tag139.xml" ContentType="application/vnd.openxmlformats-officedocument.presentationml.tags+xml"/>
  <Override PartName="/ppt/charts/chart78.xml" ContentType="application/vnd.openxmlformats-officedocument.drawingml.chart+xml"/>
  <Override PartName="/ppt/charts/style34.xml" ContentType="application/vnd.ms-office.chartstyle+xml"/>
  <Override PartName="/ppt/charts/colors34.xml" ContentType="application/vnd.ms-office.chartcolorstyle+xml"/>
  <Override PartName="/ppt/tags/tag140.xml" ContentType="application/vnd.openxmlformats-officedocument.presentationml.tags+xml"/>
  <Override PartName="/ppt/charts/chart79.xml" ContentType="application/vnd.openxmlformats-officedocument.drawingml.chart+xml"/>
  <Override PartName="/ppt/charts/style35.xml" ContentType="application/vnd.ms-office.chartstyle+xml"/>
  <Override PartName="/ppt/charts/colors35.xml" ContentType="application/vnd.ms-office.chartcolorstyle+xml"/>
  <Override PartName="/ppt/tags/tag141.xml" ContentType="application/vnd.openxmlformats-officedocument.presentationml.tags+xml"/>
  <Override PartName="/ppt/charts/chart80.xml" ContentType="application/vnd.openxmlformats-officedocument.drawingml.chart+xml"/>
  <Override PartName="/ppt/charts/style36.xml" ContentType="application/vnd.ms-office.chartstyle+xml"/>
  <Override PartName="/ppt/charts/colors36.xml" ContentType="application/vnd.ms-office.chartcolorstyle+xml"/>
  <Override PartName="/ppt/tags/tag142.xml" ContentType="application/vnd.openxmlformats-officedocument.presentationml.tags+xml"/>
  <Override PartName="/ppt/charts/chart81.xml" ContentType="application/vnd.openxmlformats-officedocument.drawingml.chart+xml"/>
  <Override PartName="/ppt/charts/style37.xml" ContentType="application/vnd.ms-office.chartstyle+xml"/>
  <Override PartName="/ppt/charts/colors37.xml" ContentType="application/vnd.ms-office.chartcolorstyle+xml"/>
  <Override PartName="/ppt/tags/tag143.xml" ContentType="application/vnd.openxmlformats-officedocument.presentationml.tags+xml"/>
  <Override PartName="/ppt/charts/chart82.xml" ContentType="application/vnd.openxmlformats-officedocument.drawingml.chart+xml"/>
  <Override PartName="/ppt/charts/style38.xml" ContentType="application/vnd.ms-office.chartstyle+xml"/>
  <Override PartName="/ppt/charts/colors38.xml" ContentType="application/vnd.ms-office.chartcolorstyle+xml"/>
  <Override PartName="/ppt/tags/tag144.xml" ContentType="application/vnd.openxmlformats-officedocument.presentationml.tags+xml"/>
  <Override PartName="/ppt/charts/chart83.xml" ContentType="application/vnd.openxmlformats-officedocument.drawingml.chart+xml"/>
  <Override PartName="/ppt/charts/style39.xml" ContentType="application/vnd.ms-office.chartstyle+xml"/>
  <Override PartName="/ppt/charts/colors39.xml" ContentType="application/vnd.ms-office.chartcolorstyle+xml"/>
  <Override PartName="/ppt/tags/tag145.xml" ContentType="application/vnd.openxmlformats-officedocument.presentationml.tags+xml"/>
  <Override PartName="/ppt/charts/chart84.xml" ContentType="application/vnd.openxmlformats-officedocument.drawingml.chart+xml"/>
  <Override PartName="/ppt/charts/style40.xml" ContentType="application/vnd.ms-office.chartstyle+xml"/>
  <Override PartName="/ppt/charts/colors40.xml" ContentType="application/vnd.ms-office.chartcolorstyle+xml"/>
  <Override PartName="/ppt/tags/tag146.xml" ContentType="application/vnd.openxmlformats-officedocument.presentationml.tags+xml"/>
  <Override PartName="/ppt/notesSlides/notesSlide73.xml" ContentType="application/vnd.openxmlformats-officedocument.presentationml.notesSlide+xml"/>
  <Override PartName="/ppt/charts/chart85.xml" ContentType="application/vnd.openxmlformats-officedocument.drawingml.chart+xml"/>
  <Override PartName="/ppt/tags/tag147.xml" ContentType="application/vnd.openxmlformats-officedocument.presentationml.tags+xml"/>
  <Override PartName="/ppt/notesSlides/notesSlide74.xml" ContentType="application/vnd.openxmlformats-officedocument.presentationml.notesSlide+xml"/>
  <Override PartName="/ppt/charts/chart86.xml" ContentType="application/vnd.openxmlformats-officedocument.drawingml.chart+xml"/>
  <Override PartName="/ppt/tags/tag148.xml" ContentType="application/vnd.openxmlformats-officedocument.presentationml.tags+xml"/>
  <Override PartName="/ppt/notesSlides/notesSlide75.xml" ContentType="application/vnd.openxmlformats-officedocument.presentationml.notesSlide+xml"/>
  <Override PartName="/ppt/charts/chart87.xml" ContentType="application/vnd.openxmlformats-officedocument.drawingml.chart+xml"/>
  <Override PartName="/ppt/tags/tag149.xml" ContentType="application/vnd.openxmlformats-officedocument.presentationml.tags+xml"/>
  <Override PartName="/ppt/notesSlides/notesSlide76.xml" ContentType="application/vnd.openxmlformats-officedocument.presentationml.notesSlide+xml"/>
  <Override PartName="/ppt/charts/chart88.xml" ContentType="application/vnd.openxmlformats-officedocument.drawingml.chart+xml"/>
  <Override PartName="/ppt/tags/tag150.xml" ContentType="application/vnd.openxmlformats-officedocument.presentationml.tags+xml"/>
  <Override PartName="/ppt/notesSlides/notesSlide77.xml" ContentType="application/vnd.openxmlformats-officedocument.presentationml.notesSlide+xml"/>
  <Override PartName="/ppt/charts/chart89.xml" ContentType="application/vnd.openxmlformats-officedocument.drawingml.chart+xml"/>
  <Override PartName="/ppt/tags/tag151.xml" ContentType="application/vnd.openxmlformats-officedocument.presentationml.tags+xml"/>
  <Override PartName="/ppt/notesSlides/notesSlide78.xml" ContentType="application/vnd.openxmlformats-officedocument.presentationml.notesSlide+xml"/>
  <Override PartName="/ppt/charts/chart90.xml" ContentType="application/vnd.openxmlformats-officedocument.drawingml.chart+xml"/>
  <Override PartName="/ppt/tags/tag152.xml" ContentType="application/vnd.openxmlformats-officedocument.presentationml.tags+xml"/>
  <Override PartName="/ppt/notesSlides/notesSlide79.xml" ContentType="application/vnd.openxmlformats-officedocument.presentationml.notesSlide+xml"/>
  <Override PartName="/ppt/charts/chart91.xml" ContentType="application/vnd.openxmlformats-officedocument.drawingml.chart+xml"/>
  <Override PartName="/ppt/tags/tag153.xml" ContentType="application/vnd.openxmlformats-officedocument.presentationml.tags+xml"/>
  <Override PartName="/ppt/notesSlides/notesSlide80.xml" ContentType="application/vnd.openxmlformats-officedocument.presentationml.notesSlide+xml"/>
  <Override PartName="/ppt/charts/chart92.xml" ContentType="application/vnd.openxmlformats-officedocument.drawingml.chart+xml"/>
  <Override PartName="/ppt/tags/tag154.xml" ContentType="application/vnd.openxmlformats-officedocument.presentationml.tags+xml"/>
  <Override PartName="/ppt/notesSlides/notesSlide81.xml" ContentType="application/vnd.openxmlformats-officedocument.presentationml.notesSlide+xml"/>
  <Override PartName="/ppt/charts/chart93.xml" ContentType="application/vnd.openxmlformats-officedocument.drawingml.chart+xml"/>
  <Override PartName="/ppt/tags/tag155.xml" ContentType="application/vnd.openxmlformats-officedocument.presentationml.tags+xml"/>
  <Override PartName="/ppt/notesSlides/notesSlide82.xml" ContentType="application/vnd.openxmlformats-officedocument.presentationml.notesSlide+xml"/>
  <Override PartName="/ppt/charts/chart94.xml" ContentType="application/vnd.openxmlformats-officedocument.drawingml.chart+xml"/>
  <Override PartName="/ppt/tags/tag156.xml" ContentType="application/vnd.openxmlformats-officedocument.presentationml.tags+xml"/>
  <Override PartName="/ppt/notesSlides/notesSlide83.xml" ContentType="application/vnd.openxmlformats-officedocument.presentationml.notesSlide+xml"/>
  <Override PartName="/ppt/charts/chart95.xml" ContentType="application/vnd.openxmlformats-officedocument.drawingml.chart+xml"/>
  <Override PartName="/ppt/tags/tag157.xml" ContentType="application/vnd.openxmlformats-officedocument.presentationml.tags+xml"/>
  <Override PartName="/ppt/notesSlides/notesSlide84.xml" ContentType="application/vnd.openxmlformats-officedocument.presentationml.notesSlide+xml"/>
  <Override PartName="/ppt/charts/chart96.xml" ContentType="application/vnd.openxmlformats-officedocument.drawingml.chart+xml"/>
  <Override PartName="/ppt/tags/tag158.xml" ContentType="application/vnd.openxmlformats-officedocument.presentationml.tags+xml"/>
  <Override PartName="/ppt/notesSlides/notesSlide85.xml" ContentType="application/vnd.openxmlformats-officedocument.presentationml.notesSlide+xml"/>
  <Override PartName="/ppt/charts/chart97.xml" ContentType="application/vnd.openxmlformats-officedocument.drawingml.chart+xml"/>
  <Override PartName="/ppt/tags/tag159.xml" ContentType="application/vnd.openxmlformats-officedocument.presentationml.tags+xml"/>
  <Override PartName="/ppt/notesSlides/notesSlide86.xml" ContentType="application/vnd.openxmlformats-officedocument.presentationml.notesSlide+xml"/>
  <Override PartName="/ppt/charts/chart98.xml" ContentType="application/vnd.openxmlformats-officedocument.drawingml.chart+xml"/>
  <Override PartName="/ppt/tags/tag160.xml" ContentType="application/vnd.openxmlformats-officedocument.presentationml.tags+xml"/>
  <Override PartName="/ppt/notesSlides/notesSlide87.xml" ContentType="application/vnd.openxmlformats-officedocument.presentationml.notesSlide+xml"/>
  <Override PartName="/ppt/charts/chart99.xml" ContentType="application/vnd.openxmlformats-officedocument.drawingml.chart+xml"/>
  <Override PartName="/ppt/tags/tag161.xml" ContentType="application/vnd.openxmlformats-officedocument.presentationml.tags+xml"/>
  <Override PartName="/ppt/notesSlides/notesSlide88.xml" ContentType="application/vnd.openxmlformats-officedocument.presentationml.notesSlide+xml"/>
  <Override PartName="/ppt/charts/chart100.xml" ContentType="application/vnd.openxmlformats-officedocument.drawingml.chart+xml"/>
  <Override PartName="/ppt/tags/tag162.xml" ContentType="application/vnd.openxmlformats-officedocument.presentationml.tags+xml"/>
  <Override PartName="/ppt/notesSlides/notesSlide89.xml" ContentType="application/vnd.openxmlformats-officedocument.presentationml.notesSlide+xml"/>
  <Override PartName="/ppt/charts/chart101.xml" ContentType="application/vnd.openxmlformats-officedocument.drawingml.chart+xml"/>
  <Override PartName="/ppt/tags/tag163.xml" ContentType="application/vnd.openxmlformats-officedocument.presentationml.tags+xml"/>
  <Override PartName="/ppt/notesSlides/notesSlide90.xml" ContentType="application/vnd.openxmlformats-officedocument.presentationml.notesSlide+xml"/>
  <Override PartName="/ppt/charts/chart102.xml" ContentType="application/vnd.openxmlformats-officedocument.drawingml.chart+xml"/>
  <Override PartName="/ppt/tags/tag164.xml" ContentType="application/vnd.openxmlformats-officedocument.presentationml.tags+xml"/>
  <Override PartName="/ppt/notesSlides/notesSlide91.xml" ContentType="application/vnd.openxmlformats-officedocument.presentationml.notesSlide+xml"/>
  <Override PartName="/ppt/charts/chart103.xml" ContentType="application/vnd.openxmlformats-officedocument.drawingml.chart+xml"/>
  <Override PartName="/ppt/tags/tag165.xml" ContentType="application/vnd.openxmlformats-officedocument.presentationml.tags+xml"/>
  <Override PartName="/ppt/notesSlides/notesSlide92.xml" ContentType="application/vnd.openxmlformats-officedocument.presentationml.notesSlide+xml"/>
  <Override PartName="/ppt/charts/chart104.xml" ContentType="application/vnd.openxmlformats-officedocument.drawingml.chart+xml"/>
  <Override PartName="/ppt/tags/tag166.xml" ContentType="application/vnd.openxmlformats-officedocument.presentationml.tags+xml"/>
  <Override PartName="/ppt/notesSlides/notesSlide93.xml" ContentType="application/vnd.openxmlformats-officedocument.presentationml.notesSlide+xml"/>
  <Override PartName="/ppt/charts/chart105.xml" ContentType="application/vnd.openxmlformats-officedocument.drawingml.chart+xml"/>
  <Override PartName="/ppt/tags/tag167.xml" ContentType="application/vnd.openxmlformats-officedocument.presentationml.tags+xml"/>
  <Override PartName="/ppt/notesSlides/notesSlide94.xml" ContentType="application/vnd.openxmlformats-officedocument.presentationml.notesSlide+xml"/>
  <Override PartName="/ppt/charts/chart106.xml" ContentType="application/vnd.openxmlformats-officedocument.drawingml.chart+xml"/>
  <Override PartName="/ppt/tags/tag168.xml" ContentType="application/vnd.openxmlformats-officedocument.presentationml.tags+xml"/>
  <Override PartName="/ppt/notesSlides/notesSlide95.xml" ContentType="application/vnd.openxmlformats-officedocument.presentationml.notesSlide+xml"/>
  <Override PartName="/ppt/charts/chart107.xml" ContentType="application/vnd.openxmlformats-officedocument.drawingml.chart+xml"/>
  <Override PartName="/ppt/tags/tag169.xml" ContentType="application/vnd.openxmlformats-officedocument.presentationml.tags+xml"/>
  <Override PartName="/ppt/notesSlides/notesSlide96.xml" ContentType="application/vnd.openxmlformats-officedocument.presentationml.notesSlide+xml"/>
  <Override PartName="/ppt/charts/chart108.xml" ContentType="application/vnd.openxmlformats-officedocument.drawingml.chart+xml"/>
  <Override PartName="/ppt/tags/tag170.xml" ContentType="application/vnd.openxmlformats-officedocument.presentationml.tags+xml"/>
  <Override PartName="/ppt/notesSlides/notesSlide97.xml" ContentType="application/vnd.openxmlformats-officedocument.presentationml.notesSlide+xml"/>
  <Override PartName="/ppt/charts/chart109.xml" ContentType="application/vnd.openxmlformats-officedocument.drawingml.chart+xml"/>
  <Override PartName="/ppt/tags/tag171.xml" ContentType="application/vnd.openxmlformats-officedocument.presentationml.tags+xml"/>
  <Override PartName="/ppt/notesSlides/notesSlide98.xml" ContentType="application/vnd.openxmlformats-officedocument.presentationml.notesSlide+xml"/>
  <Override PartName="/ppt/charts/chart110.xml" ContentType="application/vnd.openxmlformats-officedocument.drawingml.chart+xml"/>
  <Override PartName="/ppt/tags/tag172.xml" ContentType="application/vnd.openxmlformats-officedocument.presentationml.tags+xml"/>
  <Override PartName="/ppt/notesSlides/notesSlide99.xml" ContentType="application/vnd.openxmlformats-officedocument.presentationml.notesSlide+xml"/>
  <Override PartName="/ppt/charts/chart111.xml" ContentType="application/vnd.openxmlformats-officedocument.drawingml.chart+xml"/>
  <Override PartName="/ppt/tags/tag173.xml" ContentType="application/vnd.openxmlformats-officedocument.presentationml.tags+xml"/>
  <Override PartName="/ppt/notesSlides/notesSlide100.xml" ContentType="application/vnd.openxmlformats-officedocument.presentationml.notesSlide+xml"/>
  <Override PartName="/ppt/charts/chart112.xml" ContentType="application/vnd.openxmlformats-officedocument.drawingml.chart+xml"/>
  <Override PartName="/ppt/tags/tag174.xml" ContentType="application/vnd.openxmlformats-officedocument.presentationml.tags+xml"/>
  <Override PartName="/ppt/notesSlides/notesSlide101.xml" ContentType="application/vnd.openxmlformats-officedocument.presentationml.notesSlide+xml"/>
  <Override PartName="/ppt/charts/chart113.xml" ContentType="application/vnd.openxmlformats-officedocument.drawingml.chart+xml"/>
  <Override PartName="/ppt/tags/tag175.xml" ContentType="application/vnd.openxmlformats-officedocument.presentationml.tags+xml"/>
  <Override PartName="/ppt/notesSlides/notesSlide102.xml" ContentType="application/vnd.openxmlformats-officedocument.presentationml.notesSlide+xml"/>
  <Override PartName="/ppt/charts/chart114.xml" ContentType="application/vnd.openxmlformats-officedocument.drawingml.chart+xml"/>
  <Override PartName="/ppt/tags/tag176.xml" ContentType="application/vnd.openxmlformats-officedocument.presentationml.tags+xml"/>
  <Override PartName="/ppt/notesSlides/notesSlide103.xml" ContentType="application/vnd.openxmlformats-officedocument.presentationml.notesSlide+xml"/>
  <Override PartName="/ppt/charts/chart115.xml" ContentType="application/vnd.openxmlformats-officedocument.drawingml.chart+xml"/>
  <Override PartName="/ppt/tags/tag177.xml" ContentType="application/vnd.openxmlformats-officedocument.presentationml.tags+xml"/>
  <Override PartName="/ppt/notesSlides/notesSlide104.xml" ContentType="application/vnd.openxmlformats-officedocument.presentationml.notesSlide+xml"/>
  <Override PartName="/ppt/charts/chart116.xml" ContentType="application/vnd.openxmlformats-officedocument.drawingml.chart+xml"/>
  <Override PartName="/ppt/tags/tag178.xml" ContentType="application/vnd.openxmlformats-officedocument.presentationml.tags+xml"/>
  <Override PartName="/ppt/notesSlides/notesSlide105.xml" ContentType="application/vnd.openxmlformats-officedocument.presentationml.notesSlide+xml"/>
  <Override PartName="/ppt/charts/chart117.xml" ContentType="application/vnd.openxmlformats-officedocument.drawingml.chart+xml"/>
  <Override PartName="/ppt/tags/tag179.xml" ContentType="application/vnd.openxmlformats-officedocument.presentationml.tags+xml"/>
  <Override PartName="/ppt/notesSlides/notesSlide106.xml" ContentType="application/vnd.openxmlformats-officedocument.presentationml.notesSlide+xml"/>
  <Override PartName="/ppt/charts/chart118.xml" ContentType="application/vnd.openxmlformats-officedocument.drawingml.chart+xml"/>
  <Override PartName="/ppt/tags/tag180.xml" ContentType="application/vnd.openxmlformats-officedocument.presentationml.tags+xml"/>
  <Override PartName="/ppt/notesSlides/notesSlide107.xml" ContentType="application/vnd.openxmlformats-officedocument.presentationml.notesSlide+xml"/>
  <Override PartName="/ppt/charts/chart119.xml" ContentType="application/vnd.openxmlformats-officedocument.drawingml.chart+xml"/>
  <Override PartName="/ppt/tags/tag181.xml" ContentType="application/vnd.openxmlformats-officedocument.presentationml.tags+xml"/>
  <Override PartName="/ppt/notesSlides/notesSlide108.xml" ContentType="application/vnd.openxmlformats-officedocument.presentationml.notesSlide+xml"/>
  <Override PartName="/ppt/charts/chart120.xml" ContentType="application/vnd.openxmlformats-officedocument.drawingml.chart+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63"/>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 id="2147475209" r:id="rId45"/>
    <p:sldId id="2147475210" r:id="rId46"/>
    <p:sldId id="2147475211" r:id="rId47"/>
    <p:sldId id="2147475212" r:id="rId48"/>
    <p:sldId id="2147475213" r:id="rId49"/>
    <p:sldId id="2147475214" r:id="rId50"/>
    <p:sldId id="2147475215" r:id="rId51"/>
    <p:sldId id="2147475216" r:id="rId52"/>
    <p:sldId id="2147475217" r:id="rId53"/>
    <p:sldId id="2147475218" r:id="rId54"/>
    <p:sldId id="2147475219" r:id="rId55"/>
    <p:sldId id="2147475220" r:id="rId56"/>
    <p:sldId id="2147475221" r:id="rId57"/>
    <p:sldId id="2147475222" r:id="rId58"/>
    <p:sldId id="2147475223" r:id="rId59"/>
    <p:sldId id="2147475224" r:id="rId60"/>
    <p:sldId id="2147475225" r:id="rId61"/>
    <p:sldId id="2147475226" r:id="rId62"/>
    <p:sldId id="2147475227" r:id="rId63"/>
    <p:sldId id="2147475228" r:id="rId64"/>
    <p:sldId id="2147475229" r:id="rId65"/>
    <p:sldId id="2147475230" r:id="rId66"/>
    <p:sldId id="2147475231" r:id="rId67"/>
    <p:sldId id="2147475232" r:id="rId68"/>
    <p:sldId id="2147475233" r:id="rId69"/>
    <p:sldId id="2147475234" r:id="rId70"/>
    <p:sldId id="2147475235" r:id="rId71"/>
    <p:sldId id="2147475236" r:id="rId72"/>
    <p:sldId id="2147475237" r:id="rId73"/>
    <p:sldId id="2147475238" r:id="rId74"/>
    <p:sldId id="2147475239" r:id="rId75"/>
    <p:sldId id="2147475240" r:id="rId76"/>
    <p:sldId id="2147475241" r:id="rId77"/>
    <p:sldId id="2147475242" r:id="rId78"/>
    <p:sldId id="2147475243" r:id="rId79"/>
    <p:sldId id="2147475244" r:id="rId80"/>
    <p:sldId id="2147475245" r:id="rId81"/>
    <p:sldId id="2147475246" r:id="rId82"/>
    <p:sldId id="2147475247" r:id="rId83"/>
    <p:sldId id="2147475248" r:id="rId84"/>
    <p:sldId id="2147475249" r:id="rId85"/>
    <p:sldId id="2147475250" r:id="rId86"/>
    <p:sldId id="2147475251" r:id="rId87"/>
    <p:sldId id="2147475252" r:id="rId88"/>
    <p:sldId id="2147475253" r:id="rId89"/>
    <p:sldId id="2147475254" r:id="rId90"/>
    <p:sldId id="2147475255" r:id="rId91"/>
    <p:sldId id="2147475256" r:id="rId92"/>
    <p:sldId id="2147475257" r:id="rId93"/>
    <p:sldId id="2147475258" r:id="rId94"/>
    <p:sldId id="2147475259" r:id="rId95"/>
    <p:sldId id="2147475260" r:id="rId96"/>
    <p:sldId id="2147475261" r:id="rId97"/>
    <p:sldId id="2147475262" r:id="rId98"/>
    <p:sldId id="2147475263" r:id="rId99"/>
    <p:sldId id="2147475264" r:id="rId100"/>
    <p:sldId id="2147475265" r:id="rId101"/>
    <p:sldId id="2147475266" r:id="rId102"/>
    <p:sldId id="2147475267" r:id="rId103"/>
    <p:sldId id="2147475268" r:id="rId104"/>
    <p:sldId id="2147475269" r:id="rId105"/>
    <p:sldId id="2147475270" r:id="rId106"/>
    <p:sldId id="2147475271" r:id="rId107"/>
    <p:sldId id="2147475272" r:id="rId108"/>
    <p:sldId id="2147475273" r:id="rId109"/>
    <p:sldId id="2147475274" r:id="rId110"/>
    <p:sldId id="2147475275" r:id="rId111"/>
    <p:sldId id="2147475276" r:id="rId112"/>
    <p:sldId id="2147475277" r:id="rId113"/>
    <p:sldId id="2147475278" r:id="rId114"/>
    <p:sldId id="2147475279" r:id="rId115"/>
    <p:sldId id="2147475280" r:id="rId116"/>
    <p:sldId id="2147475281" r:id="rId117"/>
    <p:sldId id="2147475282" r:id="rId118"/>
    <p:sldId id="2147475283" r:id="rId119"/>
    <p:sldId id="2147475284" r:id="rId120"/>
    <p:sldId id="2147475285" r:id="rId121"/>
    <p:sldId id="2147475286" r:id="rId122"/>
    <p:sldId id="2147475287" r:id="rId123"/>
    <p:sldId id="2147475288" r:id="rId124"/>
    <p:sldId id="2147475289" r:id="rId125"/>
    <p:sldId id="2147475290" r:id="rId126"/>
    <p:sldId id="2147475291" r:id="rId127"/>
    <p:sldId id="2147475292" r:id="rId128"/>
    <p:sldId id="2147475293" r:id="rId129"/>
    <p:sldId id="2147475294" r:id="rId130"/>
    <p:sldId id="2147475295" r:id="rId131"/>
    <p:sldId id="2147475296" r:id="rId132"/>
    <p:sldId id="2147475297" r:id="rId133"/>
    <p:sldId id="2147475298" r:id="rId134"/>
    <p:sldId id="2147475299" r:id="rId135"/>
    <p:sldId id="2147475300" r:id="rId136"/>
    <p:sldId id="2147475301" r:id="rId137"/>
    <p:sldId id="2147475302" r:id="rId138"/>
    <p:sldId id="2147475303" r:id="rId139"/>
    <p:sldId id="2147475304" r:id="rId140"/>
    <p:sldId id="2147475305" r:id="rId141"/>
    <p:sldId id="2147475306" r:id="rId142"/>
    <p:sldId id="2147475307" r:id="rId143"/>
    <p:sldId id="2147475308" r:id="rId144"/>
    <p:sldId id="2147475309" r:id="rId145"/>
    <p:sldId id="2147475310" r:id="rId146"/>
    <p:sldId id="2147475311" r:id="rId147"/>
    <p:sldId id="2147475312" r:id="rId148"/>
    <p:sldId id="2147475313" r:id="rId149"/>
    <p:sldId id="2147475314" r:id="rId150"/>
    <p:sldId id="2147475315" r:id="rId151"/>
    <p:sldId id="2147475316" r:id="rId152"/>
    <p:sldId id="2147475317" r:id="rId153"/>
    <p:sldId id="2147475318" r:id="rId154"/>
    <p:sldId id="2147475319" r:id="rId155"/>
    <p:sldId id="2147475320" r:id="rId156"/>
    <p:sldId id="2147475321" r:id="rId157"/>
    <p:sldId id="2147475322" r:id="rId158"/>
    <p:sldId id="2147475323" r:id="rId159"/>
    <p:sldId id="2147475324" r:id="rId160"/>
    <p:sldId id="2147475325" r:id="rId161"/>
    <p:sldId id="2147475326" r:id="rId16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brand" id="{7CE8E48A-66D0-4182-B9D2-D39AAD304225}">
          <p14:sldIdLst>
            <p14:sldId id="2147475169"/>
            <p14:sldId id="2147475170"/>
            <p14:sldId id="2147475171"/>
            <p14:sldId id="2147475172"/>
            <p14:sldId id="2147475173"/>
            <p14:sldId id="2147475174"/>
            <p14:sldId id="2147475175"/>
            <p14:sldId id="2147475176"/>
            <p14:sldId id="2147475177"/>
            <p14:sldId id="2147475178"/>
          </p14:sldIdLst>
        </p14:section>
        <p14:section name="Mix Analysis by Retailer for Region" id="{9D3A12DE-BA37-4A1F-B874-80AFE58DDC36}">
          <p14:sldIdLst>
            <p14:sldId id="2147475179"/>
            <p14:sldId id="2147475180"/>
            <p14:sldId id="2147475181"/>
            <p14:sldId id="2147475182"/>
            <p14:sldId id="2147475183"/>
            <p14:sldId id="2147475184"/>
          </p14:sldIdLst>
        </p14:section>
        <p14:section name="Mix Analysis by Sector" id="{A168063E-BBFF-4CFF-9CB2-AB25135EF7ED}">
          <p14:sldIdLst>
            <p14:sldId id="2147475185"/>
            <p14:sldId id="2147475186"/>
          </p14:sldIdLst>
        </p14:section>
        <p14:section name="Mix Analysis by Segment" id="{4DE19352-B47C-43E8-9ADB-D59D46D8D0ED}">
          <p14:sldIdLst>
            <p14:sldId id="2147475187"/>
            <p14:sldId id="2147475188"/>
          </p14:sldIdLst>
        </p14:section>
        <p14:section name="Mix Analysis byItem" id="{8DA37366-510D-4E6E-B183-AE2D9A7180E4}">
          <p14:sldIdLst>
            <p14:sldId id="2147475189"/>
            <p14:sldId id="2147475190"/>
            <p14:sldId id="2147475191"/>
            <p14:sldId id="2147475192"/>
            <p14:sldId id="2147475193"/>
            <p14:sldId id="2147475194"/>
            <p14:sldId id="2147475195"/>
            <p14:sldId id="2147475196"/>
            <p14:sldId id="2147475197"/>
            <p14:sldId id="2147475198"/>
            <p14:sldId id="2147475199"/>
            <p14:sldId id="2147475200"/>
          </p14:sldIdLst>
        </p14:section>
        <p14:section name="Trade Margin Analysis by Sector" id="{44862D17-6FB8-4B41-AE7D-C64430D74222}">
          <p14:sldIdLst>
            <p14:sldId id="2147475201"/>
            <p14:sldId id="2147475202"/>
          </p14:sldIdLst>
        </p14:section>
        <p14:section name="Trade Margin Analysis by Segment" id="{F11AB636-5640-40EB-9070-EF40999F7EAB}">
          <p14:sldIdLst>
            <p14:sldId id="2147475203"/>
            <p14:sldId id="2147475204"/>
          </p14:sldIdLst>
        </p14:section>
        <p14:section name="SKU KPIs Summary By Manufacturer" id="{AAF4899B-136C-45BB-B12E-20A7D1608502}">
          <p14:sldIdLst>
            <p14:sldId id="2147475205"/>
            <p14:sldId id="2147475206"/>
            <p14:sldId id="2147475207"/>
            <p14:sldId id="2147475208"/>
            <p14:sldId id="2147475209"/>
            <p14:sldId id="2147475210"/>
            <p14:sldId id="2147475211"/>
            <p14:sldId id="2147475212"/>
            <p14:sldId id="2147475213"/>
            <p14:sldId id="2147475214"/>
            <p14:sldId id="2147475215"/>
            <p14:sldId id="2147475216"/>
          </p14:sldIdLst>
        </p14:section>
        <p14:section name="SKU KPIs Summary By Brand" id="{ED66EC3E-53EC-4AA3-8641-94BAA9A0E0C5}">
          <p14:sldIdLst>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Lst>
        </p14:section>
        <p14:section name="Mix Matrix By Retailer" id="{0807F847-9019-414F-81FD-4EFD37D5B09A}">
          <p14:sldIdLst>
            <p14:sldId id="2147475241"/>
            <p14:sldId id="2147475242"/>
          </p14:sldIdLst>
        </p14:section>
        <p14:section name="Mix Matrix By Brands by Sector" id="{02EE090F-9D13-486C-9246-F01FC761E0F1}">
          <p14:sldIdLst>
            <p14:sldId id="2147475243"/>
            <p14:sldId id="2147475244"/>
          </p14:sldIdLst>
        </p14:section>
        <p14:section name="Mix Matrix By Brands by Segment" id="{6926E5E0-CC40-4045-92DB-6A4BB23F510B}">
          <p14:sldIdLst>
            <p14:sldId id="2147475245"/>
            <p14:sldId id="2147475246"/>
          </p14:sldIdLst>
        </p14:section>
        <p14:section name="Sector Spending Pool" id="{B1D764F1-0C0F-4418-974B-62B2E6E3089F}">
          <p14:sldIdLst>
            <p14:sldId id="2147475247"/>
            <p14:sldId id="2147475248"/>
          </p14:sldIdLst>
        </p14:section>
        <p14:section name="Segment Spending Pool" id="{AF28D306-E1A2-431E-949D-F873363DFA08}">
          <p14:sldIdLst>
            <p14:sldId id="2147475249"/>
            <p14:sldId id="2147475250"/>
          </p14:sldIdLst>
        </p14:section>
        <p14:section name="Product Spending Pool" id="{1C224471-85DD-431C-929E-B938343D0451}">
          <p14:sldIdLst>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 id="2147475282"/>
            <p14:sldId id="2147475283"/>
            <p14:sldId id="2147475284"/>
            <p14:sldId id="2147475285"/>
            <p14:sldId id="2147475286"/>
          </p14:sldIdLst>
        </p14:section>
        <p14:section name="SKU Profitability" id="{99EF0452-838B-4A91-BEFF-7A6E47106B47}">
          <p14:sldIdLst>
            <p14:sldId id="2147475287"/>
            <p14:sldId id="2147475288"/>
            <p14:sldId id="2147475289"/>
            <p14:sldId id="2147475290"/>
            <p14:sldId id="2147475291"/>
            <p14:sldId id="2147475292"/>
            <p14:sldId id="2147475293"/>
            <p14:sldId id="2147475294"/>
            <p14:sldId id="2147475295"/>
            <p14:sldId id="2147475296"/>
            <p14:sldId id="2147475297"/>
            <p14:sldId id="2147475298"/>
            <p14:sldId id="2147475299"/>
            <p14:sldId id="2147475300"/>
            <p14:sldId id="2147475301"/>
            <p14:sldId id="2147475302"/>
            <p14:sldId id="2147475303"/>
            <p14:sldId id="2147475304"/>
            <p14:sldId id="2147475305"/>
            <p14:sldId id="2147475306"/>
            <p14:sldId id="2147475307"/>
            <p14:sldId id="2147475308"/>
            <p14:sldId id="2147475309"/>
            <p14:sldId id="2147475310"/>
            <p14:sldId id="2147475311"/>
            <p14:sldId id="2147475312"/>
            <p14:sldId id="2147475313"/>
            <p14:sldId id="2147475314"/>
            <p14:sldId id="2147475315"/>
            <p14:sldId id="2147475316"/>
            <p14:sldId id="2147475317"/>
            <p14:sldId id="2147475318"/>
            <p14:sldId id="2147475319"/>
            <p14:sldId id="2147475320"/>
            <p14:sldId id="2147475321"/>
            <p14:sldId id="2147475322"/>
          </p14:sldIdLst>
        </p14:section>
        <p14:section name="Trade Margin Table By Sector" id="{977D7B6B-F914-494B-B4DF-86A9220F0785}">
          <p14:sldIdLst>
            <p14:sldId id="2147475323"/>
            <p14:sldId id="2147475324"/>
          </p14:sldIdLst>
        </p14:section>
        <p14:section name="Trade Margin Table By Segment" id="{8574C403-BE9A-4ED2-A47F-EDCE77F30E77}">
          <p14:sldIdLst>
            <p14:sldId id="2147475325"/>
            <p14:sldId id="21474753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presProps" Target="presProps.xml"/><Relationship Id="rId16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viewProps" Target="viewProps.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2.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3.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4.xml"/></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6.xml"/></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7.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8.xml"/></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1.xml"/><Relationship Id="rId1" Type="http://schemas.microsoft.com/office/2011/relationships/chartStyle" Target="style1.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2.xml"/><Relationship Id="rId1" Type="http://schemas.microsoft.com/office/2011/relationships/chartStyle" Target="style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3.xml"/><Relationship Id="rId1" Type="http://schemas.microsoft.com/office/2011/relationships/chartStyle" Target="style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xml"/><Relationship Id="rId1" Type="http://schemas.microsoft.com/office/2011/relationships/chartStyle" Target="style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6.xml"/><Relationship Id="rId1" Type="http://schemas.microsoft.com/office/2011/relationships/chartStyle" Target="style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7.xml"/><Relationship Id="rId1" Type="http://schemas.microsoft.com/office/2011/relationships/chartStyle" Target="style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8.xml"/><Relationship Id="rId1" Type="http://schemas.microsoft.com/office/2011/relationships/chartStyle" Target="style8.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9.xml"/><Relationship Id="rId1" Type="http://schemas.microsoft.com/office/2011/relationships/chartStyle" Target="style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10.xml"/><Relationship Id="rId1" Type="http://schemas.microsoft.com/office/2011/relationships/chartStyle" Target="style10.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11.xml"/><Relationship Id="rId1" Type="http://schemas.microsoft.com/office/2011/relationships/chartStyle" Target="style11.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12.xml"/><Relationship Id="rId1" Type="http://schemas.microsoft.com/office/2011/relationships/chartStyle" Target="style12.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13.xml"/><Relationship Id="rId1" Type="http://schemas.microsoft.com/office/2011/relationships/chartStyle" Target="style13.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14.xml"/><Relationship Id="rId1" Type="http://schemas.microsoft.com/office/2011/relationships/chartStyle" Target="style14.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15.xml"/><Relationship Id="rId1" Type="http://schemas.microsoft.com/office/2011/relationships/chartStyle" Target="style1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16.xml"/><Relationship Id="rId1" Type="http://schemas.microsoft.com/office/2011/relationships/chartStyle" Target="style16.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7.xml"/><Relationship Id="rId1" Type="http://schemas.microsoft.com/office/2011/relationships/chartStyle" Target="style17.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18.xml"/><Relationship Id="rId1" Type="http://schemas.microsoft.com/office/2011/relationships/chartStyle" Target="style18.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19.xml"/><Relationship Id="rId1" Type="http://schemas.microsoft.com/office/2011/relationships/chartStyle" Target="style19.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20.xml"/><Relationship Id="rId1" Type="http://schemas.microsoft.com/office/2011/relationships/chartStyle" Target="style20.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21.xml"/><Relationship Id="rId1" Type="http://schemas.microsoft.com/office/2011/relationships/chartStyle" Target="style21.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22.xml"/><Relationship Id="rId1" Type="http://schemas.microsoft.com/office/2011/relationships/chartStyle" Target="style22.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23.xml"/><Relationship Id="rId1" Type="http://schemas.microsoft.com/office/2011/relationships/chartStyle" Target="style23.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24.xml"/><Relationship Id="rId1" Type="http://schemas.microsoft.com/office/2011/relationships/chartStyle" Target="style24.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25.xml"/><Relationship Id="rId1" Type="http://schemas.microsoft.com/office/2011/relationships/chartStyle" Target="style2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26.xml"/><Relationship Id="rId1" Type="http://schemas.microsoft.com/office/2011/relationships/chartStyle" Target="style26.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27.xml"/><Relationship Id="rId1" Type="http://schemas.microsoft.com/office/2011/relationships/chartStyle" Target="style2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28.xml"/><Relationship Id="rId1" Type="http://schemas.microsoft.com/office/2011/relationships/chartStyle" Target="style28.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29.xml"/><Relationship Id="rId1" Type="http://schemas.microsoft.com/office/2011/relationships/chartStyle" Target="style29.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30.xml"/><Relationship Id="rId1" Type="http://schemas.microsoft.com/office/2011/relationships/chartStyle" Target="style30.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31.xml"/><Relationship Id="rId1" Type="http://schemas.microsoft.com/office/2011/relationships/chartStyle" Target="style31.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32.xml"/><Relationship Id="rId1" Type="http://schemas.microsoft.com/office/2011/relationships/chartStyle" Target="style32.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33.xml"/><Relationship Id="rId1" Type="http://schemas.microsoft.com/office/2011/relationships/chartStyle" Target="style33.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34.xml"/><Relationship Id="rId1" Type="http://schemas.microsoft.com/office/2011/relationships/chartStyle" Target="style34.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35.xml"/><Relationship Id="rId1" Type="http://schemas.microsoft.com/office/2011/relationships/chartStyle" Target="style3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36.xml"/><Relationship Id="rId1" Type="http://schemas.microsoft.com/office/2011/relationships/chartStyle" Target="style36.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37.xml"/><Relationship Id="rId1" Type="http://schemas.microsoft.com/office/2011/relationships/chartStyle" Target="style37.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38.xml"/><Relationship Id="rId1" Type="http://schemas.microsoft.com/office/2011/relationships/chartStyle" Target="style38.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39.xml"/><Relationship Id="rId1" Type="http://schemas.microsoft.com/office/2011/relationships/chartStyle" Target="style39.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40.xml"/><Relationship Id="rId1" Type="http://schemas.microsoft.com/office/2011/relationships/chartStyle" Target="style40.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82834CE-FAA5-40E9-B43E-EF4851285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F1AB333-8F69-4419-92E3-F841E152D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3877997-8ACB-4C9C-AD56-2C5DD192A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B174BD8-FEE8-4D56-8BB5-A1CA1249D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55109F3-B956-43E5-8270-79EE47E78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5071111-BBB6-44BB-8A0F-D6CA430F0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4857049-91A7-4926-97D2-3427C8789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9AE9E158-386B-4A30-9E87-1EE94AE7C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974399999999999</c:v>
                </c:pt>
                <c:pt idx="1">
                  <c:v>10.262</c:v>
                </c:pt>
                <c:pt idx="2">
                  <c:v>10.5174</c:v>
                </c:pt>
                <c:pt idx="3">
                  <c:v>6.3836000000000004</c:v>
                </c:pt>
                <c:pt idx="4">
                  <c:v>9.5500000000000007</c:v>
                </c:pt>
                <c:pt idx="5">
                  <c:v>7.6738999999999997</c:v>
                </c:pt>
              </c:numCache>
            </c:numRef>
          </c:xVal>
          <c:yVal>
            <c:numRef>
              <c:f>Sheet1!$B$2:$B$7</c:f>
              <c:numCache>
                <c:formatCode>General</c:formatCode>
                <c:ptCount val="6"/>
                <c:pt idx="0">
                  <c:v>0.31879999999999997</c:v>
                </c:pt>
                <c:pt idx="1">
                  <c:v>0.42530000000000001</c:v>
                </c:pt>
                <c:pt idx="2">
                  <c:v>0.38519999999999999</c:v>
                </c:pt>
                <c:pt idx="3">
                  <c:v>0.30730000000000002</c:v>
                </c:pt>
                <c:pt idx="4">
                  <c:v>0.30230000000000001</c:v>
                </c:pt>
                <c:pt idx="5">
                  <c:v>0.35980000000000001</c:v>
                </c:pt>
              </c:numCache>
            </c:numRef>
          </c:yVal>
          <c:bubbleSize>
            <c:numRef>
              <c:f>Sheet1!$C$2:$C$7</c:f>
              <c:numCache>
                <c:formatCode>General</c:formatCode>
                <c:ptCount val="6"/>
                <c:pt idx="0">
                  <c:v>3267921.7362000002</c:v>
                </c:pt>
                <c:pt idx="1">
                  <c:v>3432959.1820999999</c:v>
                </c:pt>
                <c:pt idx="2">
                  <c:v>4167191.6750000012</c:v>
                </c:pt>
                <c:pt idx="3">
                  <c:v>4211708.1518999981</c:v>
                </c:pt>
                <c:pt idx="4">
                  <c:v>108277.4583</c:v>
                </c:pt>
                <c:pt idx="5">
                  <c:v>3582708.3375999988</c:v>
                </c:pt>
              </c:numCache>
            </c:numRef>
          </c:bubbleSize>
          <c:bubble3D val="0"/>
          <c:extLst>
            <c:ext xmlns:c15="http://schemas.microsoft.com/office/drawing/2012/chart" uri="{02D57815-91ED-43cb-92C2-25804820EDAC}">
              <c15:datalabelsRange>
                <c15:f>Sheet1!$E$2:$E$29</c15:f>
                <c15:dlblRangeCache>
                  <c:ptCount val="28"/>
                  <c:pt idx="0">
                    <c:v>Boursin</c:v>
                  </c:pt>
                  <c:pt idx="1">
                    <c:v>Apericube</c:v>
                  </c:pt>
                  <c:pt idx="2">
                    <c:v>Mini Babybel</c:v>
                  </c:pt>
                  <c:pt idx="3">
                    <c:v>La Vache Qui Rit</c:v>
                  </c:pt>
                  <c:pt idx="4">
                    <c:v>Nurishh</c:v>
                  </c:pt>
                  <c:pt idx="5">
                    <c:v>Kiri</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169279999999999"/>
          <c:min val="5.1068800000000003"/>
        </c:scaling>
        <c:delete val="0"/>
        <c:axPos val="b"/>
        <c:title>
          <c:tx>
            <c:rich>
              <a:bodyPr rot="0" vert="horz"/>
              <a:lstStyle/>
              <a:p>
                <a:pPr>
                  <a:defRPr sz="800">
                    <a:latin typeface="Nexa Bold"/>
                  </a:defRPr>
                </a:pPr>
                <a:r>
                  <a:rPr lang="en-US"/>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5816874386714009"/>
        <c:crossBetween val="midCat"/>
      </c:valAx>
      <c:valAx>
        <c:axId val="1011451359"/>
        <c:scaling>
          <c:orientation val="minMax"/>
          <c:max val="0.87036000000000002"/>
          <c:min val="1.8400000000000196E-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07441814777741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5631E21-CA53-4D2E-8836-5192DE8FE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713E03B-5E9C-4967-AA2E-61FB6AB24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DD82B0F-FBF7-4458-A3CC-4D8665CD1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6F7AABB1-18AA-4255-8AF1-CBA37A68D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2C42F2DB-0DD6-4DEF-B908-C2ACD70BE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7D08D68A-D4B6-4B50-9280-71D51B4B5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50F4EC01-7845-4EC3-B273-0F733E9BC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C3248BC8-6DD6-434A-A18B-BE2D1F73D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8.8712</c:v>
                </c:pt>
                <c:pt idx="1">
                  <c:v>9.7577999999999996</c:v>
                </c:pt>
              </c:numCache>
            </c:numRef>
          </c:xVal>
          <c:yVal>
            <c:numRef>
              <c:f>Sheet1!$B$2:$B$3</c:f>
              <c:numCache>
                <c:formatCode>General</c:formatCode>
                <c:ptCount val="2"/>
                <c:pt idx="0">
                  <c:v>0.26910000000000001</c:v>
                </c:pt>
                <c:pt idx="1">
                  <c:v>0.37890000000000001</c:v>
                </c:pt>
              </c:numCache>
            </c:numRef>
          </c:yVal>
          <c:bubbleSize>
            <c:numRef>
              <c:f>Sheet1!$C$2:$C$3</c:f>
              <c:numCache>
                <c:formatCode>General</c:formatCode>
                <c:ptCount val="2"/>
                <c:pt idx="0">
                  <c:v>1982092.9365000001</c:v>
                </c:pt>
                <c:pt idx="1">
                  <c:v>88152.206200000001</c:v>
                </c:pt>
              </c:numCache>
            </c:numRef>
          </c:bubbleSize>
          <c:bubble3D val="0"/>
          <c:extLst>
            <c:ext xmlns:c15="http://schemas.microsoft.com/office/drawing/2012/chart" uri="{02D57815-91ED-43cb-92C2-25804820EDAC}">
              <c15:datalabelsRange>
                <c15:f>Sheet1!$E$2:$E$29</c15:f>
                <c15:dlblRangeCache>
                  <c:ptCount val="28"/>
                  <c:pt idx="0">
                    <c:v>Boursin</c:v>
                  </c:pt>
                  <c:pt idx="1">
                    <c:v>Kiri</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709359999999998"/>
          <c:min val="7.09696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2737753459487105"/>
        <c:crossBetween val="midCat"/>
      </c:valAx>
      <c:valAx>
        <c:axId val="1011451359"/>
        <c:scaling>
          <c:orientation val="minMax"/>
          <c:max val="0.81468000000000007"/>
          <c:min val="-2.471999999999998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90895192821609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B25C916-9027-4EEF-88EF-7A37D5984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454136D-7E57-4415-B165-7A01A906C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0B8732A-5C54-4553-8FA8-894FF88D9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9E5321D-C7EF-4222-8DF8-E1831E8D0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9CE79F4-A410-4EAD-9D51-E8FA79069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6BB6C6E-33E3-4899-A0B7-8502DFC93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BF139A7-2264-47B6-807E-527FE715D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FD75FD3-D1A5-4F5B-AE7F-AC42D5813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E3C4594-FD3E-4B62-AEDB-0B0DB76A6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65B936B8-4430-45F7-B413-C803690EB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500BC7DB-96FC-4CB2-8551-841977CD3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540395ED-3E9B-48A3-A8FE-39DD372B0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7351C78-AEAA-4987-9521-18C5B0DB3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B8FC0EE-F02B-49B4-A0F3-409988429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D8D6F0D-3DC1-4C89-99FD-15CEF3DE6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5CDA267-6A77-4FBA-9FB2-FC007BF93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764CF861-83B3-48BF-8A66-CACB14BC0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02E256A-DFE2-4BC7-8E1D-91430BCE3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8268963-6686-41F3-B5E1-A3EDAE83B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D3434CF3-E2AB-4356-A7E0-984608A66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DE34B48-586B-44EB-9FB2-3E4F64EC1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4C375ECE-6089-4C8D-85C4-EAAC3B3C5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0E5B404-36EE-40D2-90E9-29E19F87B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33D8024-8918-4E0C-9473-4D7B38761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E416E14A-A0D1-4EC5-AEC5-F87A09863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356A224E-1CDF-4FF6-ACEF-8E37B009A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476D597F-B03C-476D-ACCD-6F6D614CA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C66D1F65-FC80-4520-A9AE-E888443D1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DBEBE82E-91AC-4191-94E2-54617E9B4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8F4DF5F7-DB8A-47C3-8448-033B5367B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68933DFB-7C9D-4F28-9E34-B1BBFAC2D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F478F84E-018D-4EA1-BCD9-BF938C408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7CB5A50B-0C8E-493B-A86E-FBADECCDD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27B10F79-376D-4840-BF87-6D25B2E56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8FDF877D-6722-460A-95C0-DE9B31538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466A1D14-4643-46C3-827A-FEE345E7E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2E992CA6-F5EB-4C73-AC31-C2908F6DA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36DCCBA8-3EF3-4179-96BC-5F8CB1E67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206FD20-7467-4C44-8E77-5EC356A6F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5D5B033-C062-424D-9358-C4156D5E9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B1F9C1E7-FB1F-4F1A-83A2-17F4AF0D1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13DE166A-5034-4B38-A4DA-7E109E675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DDC4E75C-A871-4314-AF0C-859C8E59E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DFF1C5AC-191F-44AA-A5A5-559A27582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4B578F8-3835-4F2E-A8FF-40E63E89F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EC224B5-E7E3-43B0-A07D-69186F6AC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160AC0C9-A94D-49C0-B7DC-77B519DDD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CBA2FD29-F1A8-4473-9ED6-6F2663B3A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3DC1209-B377-4C46-9301-AC737FAAB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301A9164-D6BE-4B1D-982D-D9CB0BAD3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1AC9475A-2F7C-407E-B374-8A344020E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F6A63D9B-3615-4571-B10F-635A34D98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443A69F-8C79-4203-8A8B-AEB7178BC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57F34A69-96CC-4FB9-B85C-0CD82BCD0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A3CA6D91-24E9-4FE2-BC54-AB8436540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55C7E2AF-E726-4C1A-A173-BDA3D2FAF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1E64A266-B375-4340-9DDE-C9C4C0AA9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4</c:f>
              <c:numCache>
                <c:formatCode>General</c:formatCode>
                <c:ptCount val="23"/>
                <c:pt idx="0">
                  <c:v>0.35720000000000002</c:v>
                </c:pt>
                <c:pt idx="1">
                  <c:v>0.36149999999999999</c:v>
                </c:pt>
                <c:pt idx="2">
                  <c:v>0.53720000000000001</c:v>
                </c:pt>
                <c:pt idx="3">
                  <c:v>0.40649999999999997</c:v>
                </c:pt>
                <c:pt idx="4">
                  <c:v>0.42870000000000003</c:v>
                </c:pt>
                <c:pt idx="5">
                  <c:v>0.43430000000000002</c:v>
                </c:pt>
                <c:pt idx="6">
                  <c:v>0.38550000000000001</c:v>
                </c:pt>
                <c:pt idx="7">
                  <c:v>0.36380000000000001</c:v>
                </c:pt>
                <c:pt idx="8">
                  <c:v>0.42049999999999998</c:v>
                </c:pt>
                <c:pt idx="9">
                  <c:v>0.4869</c:v>
                </c:pt>
                <c:pt idx="10">
                  <c:v>0.40110000000000001</c:v>
                </c:pt>
                <c:pt idx="11">
                  <c:v>0.39090000000000003</c:v>
                </c:pt>
                <c:pt idx="12">
                  <c:v>0.4027</c:v>
                </c:pt>
                <c:pt idx="13">
                  <c:v>0.40429999999999999</c:v>
                </c:pt>
                <c:pt idx="14">
                  <c:v>0.40560000000000002</c:v>
                </c:pt>
                <c:pt idx="15">
                  <c:v>0.38950000000000001</c:v>
                </c:pt>
                <c:pt idx="16">
                  <c:v>0.436</c:v>
                </c:pt>
                <c:pt idx="17">
                  <c:v>0.43690000000000001</c:v>
                </c:pt>
                <c:pt idx="18">
                  <c:v>0.37330000000000002</c:v>
                </c:pt>
                <c:pt idx="19">
                  <c:v>0.4899</c:v>
                </c:pt>
                <c:pt idx="20">
                  <c:v>0.2555</c:v>
                </c:pt>
                <c:pt idx="21">
                  <c:v>0.47799999999999998</c:v>
                </c:pt>
                <c:pt idx="22">
                  <c:v>0.42380000000000001</c:v>
                </c:pt>
              </c:numCache>
            </c:numRef>
          </c:xVal>
          <c:yVal>
            <c:numRef>
              <c:f>Sheet1!$B$2:$B$24</c:f>
              <c:numCache>
                <c:formatCode>General</c:formatCode>
                <c:ptCount val="23"/>
                <c:pt idx="0">
                  <c:v>0.28370000000000001</c:v>
                </c:pt>
                <c:pt idx="1">
                  <c:v>0.3201</c:v>
                </c:pt>
                <c:pt idx="2">
                  <c:v>-2.98E-2</c:v>
                </c:pt>
                <c:pt idx="3">
                  <c:v>0.30370000000000003</c:v>
                </c:pt>
                <c:pt idx="4">
                  <c:v>0.30099999999999999</c:v>
                </c:pt>
                <c:pt idx="5">
                  <c:v>0.31180000000000002</c:v>
                </c:pt>
                <c:pt idx="6">
                  <c:v>0.30990000000000001</c:v>
                </c:pt>
                <c:pt idx="7">
                  <c:v>0.35339999999999999</c:v>
                </c:pt>
                <c:pt idx="8">
                  <c:v>0.27829999999999999</c:v>
                </c:pt>
                <c:pt idx="9">
                  <c:v>0.1988</c:v>
                </c:pt>
                <c:pt idx="10">
                  <c:v>0.36820000000000003</c:v>
                </c:pt>
                <c:pt idx="11">
                  <c:v>0.34860000000000002</c:v>
                </c:pt>
                <c:pt idx="12">
                  <c:v>0.35220000000000001</c:v>
                </c:pt>
                <c:pt idx="13">
                  <c:v>0.26950000000000002</c:v>
                </c:pt>
                <c:pt idx="14">
                  <c:v>0.18890000000000001</c:v>
                </c:pt>
                <c:pt idx="15">
                  <c:v>0.1007</c:v>
                </c:pt>
                <c:pt idx="16">
                  <c:v>0.25869999999999999</c:v>
                </c:pt>
                <c:pt idx="17">
                  <c:v>0.2384</c:v>
                </c:pt>
                <c:pt idx="18">
                  <c:v>0.22420000000000001</c:v>
                </c:pt>
                <c:pt idx="19">
                  <c:v>0.2535</c:v>
                </c:pt>
                <c:pt idx="20">
                  <c:v>0.34350000000000003</c:v>
                </c:pt>
                <c:pt idx="21">
                  <c:v>0.26779999999999998</c:v>
                </c:pt>
                <c:pt idx="22">
                  <c:v>0.17460000000000001</c:v>
                </c:pt>
              </c:numCache>
            </c:numRef>
          </c:yVal>
          <c:bubbleSize>
            <c:numRef>
              <c:f>Sheet1!$C$2:$C$24</c:f>
              <c:numCache>
                <c:formatCode>General</c:formatCode>
                <c:ptCount val="23"/>
                <c:pt idx="0">
                  <c:v>27527.410805300711</c:v>
                </c:pt>
                <c:pt idx="1">
                  <c:v>24558.51703406814</c:v>
                </c:pt>
                <c:pt idx="2">
                  <c:v>648.25327510917032</c:v>
                </c:pt>
                <c:pt idx="3">
                  <c:v>10309.23469387755</c:v>
                </c:pt>
                <c:pt idx="4">
                  <c:v>8635.1798561151081</c:v>
                </c:pt>
                <c:pt idx="5">
                  <c:v>11293.564049586779</c:v>
                </c:pt>
                <c:pt idx="6">
                  <c:v>2199.2426035502958</c:v>
                </c:pt>
                <c:pt idx="7">
                  <c:v>1098.2067247820671</c:v>
                </c:pt>
                <c:pt idx="8">
                  <c:v>3335.8687727825031</c:v>
                </c:pt>
                <c:pt idx="9">
                  <c:v>1614.075757575758</c:v>
                </c:pt>
                <c:pt idx="10">
                  <c:v>2730.8923076923079</c:v>
                </c:pt>
                <c:pt idx="11">
                  <c:v>7229.1382978723404</c:v>
                </c:pt>
                <c:pt idx="12">
                  <c:v>11438.093716719921</c:v>
                </c:pt>
                <c:pt idx="13">
                  <c:v>22494.2546583851</c:v>
                </c:pt>
                <c:pt idx="14">
                  <c:v>7525.8762886597942</c:v>
                </c:pt>
                <c:pt idx="15">
                  <c:v>8505.5930232558148</c:v>
                </c:pt>
                <c:pt idx="16">
                  <c:v>5809.3564356435636</c:v>
                </c:pt>
                <c:pt idx="17">
                  <c:v>14703.46871569703</c:v>
                </c:pt>
                <c:pt idx="18">
                  <c:v>27838.234693877552</c:v>
                </c:pt>
                <c:pt idx="19">
                  <c:v>12471.15303983229</c:v>
                </c:pt>
                <c:pt idx="20">
                  <c:v>775.14666666666665</c:v>
                </c:pt>
                <c:pt idx="21">
                  <c:v>1111.304347826087</c:v>
                </c:pt>
                <c:pt idx="22">
                  <c:v>730.54462934947037</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Boursin Classique Fromage Frais A Tartiner Afh Boite 1X150Gr 1P</c:v>
                  </c:pt>
                  <c:pt idx="2">
                    <c:v>Boursin Classique Fromage Frais A Tartiner Truffe Boite 1X150Gr 1P</c:v>
                  </c:pt>
                  <c:pt idx="3">
                    <c:v>Boursin Classique Fromage Frais A Tartiner Figue Et 3 Noix Boite 1X150Gr 1P</c:v>
                  </c:pt>
                  <c:pt idx="4">
                    <c:v>Boursin Classique Fromage Frais A Tartiner Ciboulette &amp; Echalote Boite 1X150Gr 1P</c:v>
                  </c:pt>
                  <c:pt idx="5">
                    <c:v>Boursin Salade &amp; Aperitif Fromage Frais Des Afh 1X120Gr 1P</c:v>
                  </c:pt>
                  <c:pt idx="6">
                    <c:v>Boursin Salade &amp; Aperitif Fromage Frais Des Figue Noix 1X120Gr 1P</c:v>
                  </c:pt>
                  <c:pt idx="7">
                    <c:v>Boursin Salade &amp; Aperitif Fromage Frais Des Noisette Et 3 Noix 1X120Gr 1P</c:v>
                  </c:pt>
                  <c:pt idx="8">
                    <c:v>Boursin Salade &amp; Aperitif Fromage Frais Des Ciboulette Echalote 1X120Gr 1P</c:v>
                  </c:pt>
                  <c:pt idx="9">
                    <c:v>Boursin Salade &amp; Aperitif Fromage Frais Des Citron Romarin 1X120Gr 1P</c:v>
                  </c:pt>
                  <c:pt idx="10">
                    <c:v>Boursin Classique Fromage Frais A Tartiner Afh Boite 1X80Gr 1P</c:v>
                  </c:pt>
                  <c:pt idx="11">
                    <c:v>Boursin Classique Fromage Frais A Tartiner Poivre Boite 1X150Gr 1P</c:v>
                  </c:pt>
                  <c:pt idx="12">
                    <c:v>Boursin Classique Fromage Frais A Tartiner Afh Boite 1X96Gr 6P</c:v>
                  </c:pt>
                  <c:pt idx="13">
                    <c:v>Boursin Aperitif Roules Fromage Frais Roule Afh Et Jambon Fume Boite 1X100Gr 20P</c:v>
                  </c:pt>
                  <c:pt idx="14">
                    <c:v>Boursin Aperitif Roules Fromage Frais Roule Basilic &amp; Jambon Fume Tomate Boite 1X100Gr 20P</c:v>
                  </c:pt>
                  <c:pt idx="15">
                    <c:v>Boursin Classique Fromage Frais A Tartiner Afh 1X256Gr 16P</c:v>
                  </c:pt>
                  <c:pt idx="16">
                    <c:v>Boursin Classique Fromage Frais A Tartiner Ciboulette &amp; Echalote 1X160Gr 10P</c:v>
                  </c:pt>
                  <c:pt idx="17">
                    <c:v>Boursin Aperitif Roules Fromage Frais Roule Ciboulette &amp; Echalote Jambon Fume Boite 1X100Gr 20P</c:v>
                  </c:pt>
                  <c:pt idx="18">
                    <c:v>Boursin Classique Fromage Frais A Tartiner Afh Boite 1X250Gr 1P</c:v>
                  </c:pt>
                  <c:pt idx="19">
                    <c:v>Boursin Onctueux Fromage Frais A Tartiner Afh 1X125Gr 1P</c:v>
                  </c:pt>
                  <c:pt idx="20">
                    <c:v>Boursin Aperitif Roules Fromage Frais Roule Jambon Fume &amp; Trio De Noix Boite 1X100Gr 20P</c:v>
                  </c:pt>
                  <c:pt idx="21">
                    <c:v>Bel Boursin Salade &amp; Aperitif Soft Cheese Salade 1 Ct X 120Gr</c:v>
                  </c:pt>
                  <c:pt idx="22">
                    <c:v>Bel Boursin Aperitif Roules Aperitif Aperitif 1 Ct X 10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18BB831-3D01-4665-90A1-F2E8491D7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E266003-F625-4050-A523-66B542264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9C73126-9298-443C-ACDD-71BF8CC51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90185E1-1717-45F3-93D5-6C8653426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C2C39FD-33C6-4126-88BE-5D9ABB2C4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FA633D8-C0AB-4A1C-9DA5-8BECAA212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98F526A-FB5B-4D33-B1B3-5D9DFD89EF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E88F3842-B287-4474-9C43-CBF3F0869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908E872-FBE2-43C7-9F66-0945275DCB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A3789BB9-745B-487A-A865-38FCD2073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BC84027-D626-4B7B-BB07-2FF1E2033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99ECC712-14B3-4C91-BA74-9211E445A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FA27552D-49CA-41CB-8638-E80D9A552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55CAA35A-3B1C-4A12-8A7E-E3487A73E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0753D545-1AA6-4E30-8E8D-25B75C485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A056B3A9-4BF1-4583-AE35-9B5B47054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C832F271-5466-49CD-BAB8-638DAAF49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32403729-0555-4C1C-AEA4-AD759D401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87E32908-3C24-428D-A9CD-41DE70D4C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D9F6C371-C946-4AB8-83CE-560D9A188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70CF3FF5-B939-4AE0-B2D9-CCD61F5AD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BB3228DD-50BF-4954-A586-9D8A3974C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B15E1033-180F-4F80-AF4F-1B7DBCFB6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DAED886F-D6BA-4AF1-B441-0C3188112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AA18C3D8-3E76-45E5-800A-AA0134A58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851C5EAC-A63A-4E33-9D65-AAE3D392E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B73A9FA-BB9D-4C82-8B08-17DA23D41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A994F0DF-D3C0-4F39-9A71-EB3B98075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9455B5EB-3DD8-463A-B291-BAC79AE05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2C86D925-DD3A-4CF2-9E2D-303245567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E13AD582-493C-4CF3-BC6C-1FDEC1935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A5AB90D4-F075-44A8-8FCF-5AADC915C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D1317677-0B13-4408-8375-D7664EC68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40E2B79B-6F2D-4727-9B6B-A1891D5CA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B65CEE62-A73F-449B-B40C-8A40946D0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0FC4BFC4-401E-4642-B32A-0BC5BA5BC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4BFBADA0-C4F5-4500-800B-FD59D04F0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586F0FF1-1634-4EE6-BA69-D1B81930B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6F708101-2851-4250-9ED9-791F67566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B58198FF-4B72-45C7-9A63-1991B2E14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497F63EB-3FC2-4489-B426-05208BDC1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D79F2E62-523E-49AD-9F2D-0966B95C2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1E3434CE-4C35-4737-8D80-9033DA19C3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54D2C341-D18C-4386-8A22-254ECC014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21CB4068-1614-497C-AFD5-390C3BE10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B8BBE8F3-DC85-4E71-88C3-83064D895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FE09DF9-CDB1-4199-ACDF-30731863E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E32AEE3-060B-4A9E-B724-2706F2A15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1228EBB7-B258-410B-B609-257BDDC27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1F98C8F7-316A-40BE-978C-54BEF54FB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4BA8D49A-DAEF-4B20-B2E5-B9E8769D0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0B912546-7663-4EDB-BD3B-409636C0F7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DA03DFBA-DD15-4477-847D-5FD3F6F0F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C3677EB5-60F6-4E8F-AD6B-DAE93E000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D1328B68-A29D-4E10-9B5E-D0395A679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3686BF84-18DC-4903-924F-C45D3FC1B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98BFCFB-9A54-4DB4-8253-B930A90C7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34849999999999998</c:v>
                </c:pt>
                <c:pt idx="1">
                  <c:v>0.32590000000000002</c:v>
                </c:pt>
                <c:pt idx="2">
                  <c:v>0.36840000000000001</c:v>
                </c:pt>
                <c:pt idx="3">
                  <c:v>0.3639</c:v>
                </c:pt>
                <c:pt idx="4">
                  <c:v>0.27950000000000003</c:v>
                </c:pt>
                <c:pt idx="5">
                  <c:v>0.34939999999999999</c:v>
                </c:pt>
                <c:pt idx="6">
                  <c:v>0.47739999999999999</c:v>
                </c:pt>
                <c:pt idx="7">
                  <c:v>0.49390000000000001</c:v>
                </c:pt>
              </c:numCache>
            </c:numRef>
          </c:xVal>
          <c:yVal>
            <c:numRef>
              <c:f>Sheet1!$B$2:$B$9</c:f>
              <c:numCache>
                <c:formatCode>General</c:formatCode>
                <c:ptCount val="8"/>
                <c:pt idx="0">
                  <c:v>0.35210000000000002</c:v>
                </c:pt>
                <c:pt idx="1">
                  <c:v>0.42880000000000001</c:v>
                </c:pt>
                <c:pt idx="2">
                  <c:v>0.42459999999999998</c:v>
                </c:pt>
                <c:pt idx="3">
                  <c:v>0.41860000000000003</c:v>
                </c:pt>
                <c:pt idx="4">
                  <c:v>0.21079999999999999</c:v>
                </c:pt>
                <c:pt idx="5">
                  <c:v>0.48120000000000002</c:v>
                </c:pt>
                <c:pt idx="6">
                  <c:v>0.33500000000000002</c:v>
                </c:pt>
                <c:pt idx="7">
                  <c:v>0.38869999999999999</c:v>
                </c:pt>
              </c:numCache>
            </c:numRef>
          </c:yVal>
          <c:bubbleSize>
            <c:numRef>
              <c:f>Sheet1!$C$2:$C$9</c:f>
              <c:numCache>
                <c:formatCode>General</c:formatCode>
                <c:ptCount val="8"/>
                <c:pt idx="0">
                  <c:v>43360.813008130077</c:v>
                </c:pt>
                <c:pt idx="1">
                  <c:v>45724.892307692309</c:v>
                </c:pt>
                <c:pt idx="2">
                  <c:v>20585.647298674819</c:v>
                </c:pt>
                <c:pt idx="3">
                  <c:v>27675.493562231761</c:v>
                </c:pt>
                <c:pt idx="4">
                  <c:v>3357.0257037943702</c:v>
                </c:pt>
                <c:pt idx="5">
                  <c:v>25786.988809766019</c:v>
                </c:pt>
                <c:pt idx="6">
                  <c:v>7090.9286898839136</c:v>
                </c:pt>
                <c:pt idx="7">
                  <c:v>5504.0773809523807</c:v>
                </c:pt>
              </c:numCache>
            </c:numRef>
          </c:bubbleSize>
          <c:bubble3D val="0"/>
          <c:extLst>
            <c:ext xmlns:c15="http://schemas.microsoft.com/office/drawing/2012/chart" uri="{02D57815-91ED-43cb-92C2-25804820EDAC}">
              <c15:datalabelsRange>
                <c15:f>Sheet1!$E$2:$E$58</c15:f>
                <c15:dlblRangeCache>
                  <c:ptCount val="57"/>
                  <c:pt idx="0">
                    <c:v>Kiri Creme Fromage Blanc Frais Carre 1X432Gr 24P</c:v>
                  </c:pt>
                  <c:pt idx="1">
                    <c:v>Kiri Creme Fromage Blanc Frais Carre 1X216Gr 12P</c:v>
                  </c:pt>
                  <c:pt idx="2">
                    <c:v>Kiri Gouter Fromage Blanc Dips Boite 1X175Gr 5P</c:v>
                  </c:pt>
                  <c:pt idx="3">
                    <c:v>Kiri Gouter Fromage Blanc Dips Boite 1X280Gr 8P</c:v>
                  </c:pt>
                  <c:pt idx="4">
                    <c:v>Kiri Creme Fromage Blanc Frais Carre 1X432Gr 18+6P</c:v>
                  </c:pt>
                  <c:pt idx="5">
                    <c:v>Kiri Creme Fromage Blanc Frais Carre 1X144Gr 8P</c:v>
                  </c:pt>
                  <c:pt idx="6">
                    <c:v>Kiri Bio Fromage Blanc Frais Carre 1X144Gr 8P</c:v>
                  </c:pt>
                  <c:pt idx="7">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B8A1631-1342-4F3C-8CFA-0A8732A67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742922F-37F2-4A74-B6FD-714444800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961D3E7-1403-4AB0-A739-38AAB8603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2D50140-6AB7-4284-AC5A-2F3371E52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6963C1F-170B-4AB8-9D4F-EDDE1711B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20C6841-6BA4-456E-894B-155E50CEE5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8E6A8E0-0E0D-47D8-B61D-95F35C7AF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9E116D-6A46-4988-91B1-A81E3038A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94FCE946-D0FD-47EA-9812-C9F4F37F2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A4250312-3E01-42D2-ACD7-9E901254B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9EABEDE-94D1-408D-8064-640206E57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EF07FB0-1AC6-4F1A-9C98-576165450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3B67746D-22F5-43E8-A145-31D8C2BA0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94B3346A-2815-41C6-B5D4-584EF97A6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25DD4392-1C2E-4EE0-84AE-9B6DB0D77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70B868D4-DA38-499F-86F7-15B1AFD1F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7D9A70AB-5FA5-48B0-B26B-BE4F16352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0A0C5C20-690F-47E9-A466-6CF20D9034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80A951BA-6629-4D5D-8430-15CC432E9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AB56A105-FA97-49F6-9BEC-114070BBD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D81D8560-CBCC-49C7-8AB9-3BF972425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84D28AA1-6D18-481C-9F66-F997B8C7C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10BE9B3A-D97F-4DBA-BD45-EF645A5E05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FBCB9EFD-079A-4597-81C6-FFDFB0C2F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CF46C1DE-3BAF-4389-81B8-423BB565C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B6A2E120-5405-431C-98A8-221A0D00A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26BF8AF0-13FB-4A71-B844-D26AB6212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40E18E3F-4F85-45CB-87AD-6E6C37E30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A51FA88A-E7BE-4B8E-9E73-EA683A055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B1B94A99-A27A-4992-A440-0BC621E3E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DDD30799-2F80-440F-A837-3B03F7195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7EAE9DB7-F3F1-405B-9A46-77A42A5B1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1A97339D-A945-4397-A22F-522004228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8F52EE9D-0C9F-4AC3-8198-649D5DDD0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578BD80A-D46C-4942-8549-300313775C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E8BA9AE5-383B-4761-BA29-53EE9911F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8F9F51CA-FF01-486D-B9E6-F48A146AB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B39687E2-9B54-40FC-95F8-E8BA8DE5F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5C47BAED-4606-41F1-906E-76641FA0C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D875C932-5C25-4288-8F92-565510973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5942F58E-06C5-4F00-8E9B-A15487657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DA9043F-4CB9-4D68-870F-E6FC8D31F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A9B52D87-3688-443D-BCA2-00F2B7D3B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2F39E253-D3EB-42CE-9894-A96AB5D67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E697E87-854F-4D25-B32D-294090131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DBEB65F-15C9-46A2-AF79-5EBE60C3C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989B134D-7761-4E4D-AD97-4A342CA94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7361D080-EAE9-495D-825B-351BB62C1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FAA069EB-2949-4FE5-A56B-E08C20B6B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14172D07-0002-49C9-BD67-0A791B643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7F4AF5E-0077-41D8-8B08-11E406C99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33DA4C40-1858-41A6-BC14-71A5E0D00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B4868351-38BE-4C91-970D-63F5A5C37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D2E8EE29-3162-43E0-9FB1-C8F3D44FB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337E4204-DF8C-4095-8F62-E8C2E96AA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3C54B9E-D065-4A65-AB90-4A2F08576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1A23781-0EBE-45FF-8E7E-5A0A5A689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5130000000000001</c:v>
                </c:pt>
                <c:pt idx="1">
                  <c:v>0.3977</c:v>
                </c:pt>
                <c:pt idx="2">
                  <c:v>0.24640000000000001</c:v>
                </c:pt>
                <c:pt idx="3">
                  <c:v>0.35820000000000002</c:v>
                </c:pt>
                <c:pt idx="4">
                  <c:v>0.32750000000000001</c:v>
                </c:pt>
                <c:pt idx="5">
                  <c:v>0.43259999999999998</c:v>
                </c:pt>
                <c:pt idx="6">
                  <c:v>0.42409999999999998</c:v>
                </c:pt>
                <c:pt idx="7">
                  <c:v>0.49440000000000001</c:v>
                </c:pt>
              </c:numCache>
            </c:numRef>
          </c:xVal>
          <c:yVal>
            <c:numRef>
              <c:f>Sheet1!$B$2:$B$9</c:f>
              <c:numCache>
                <c:formatCode>General</c:formatCode>
                <c:ptCount val="8"/>
                <c:pt idx="0">
                  <c:v>0.26960000000000001</c:v>
                </c:pt>
                <c:pt idx="1">
                  <c:v>0.39810000000000001</c:v>
                </c:pt>
                <c:pt idx="2">
                  <c:v>0.17280000000000001</c:v>
                </c:pt>
                <c:pt idx="3">
                  <c:v>0.31580000000000003</c:v>
                </c:pt>
                <c:pt idx="4">
                  <c:v>0.26429999999999998</c:v>
                </c:pt>
                <c:pt idx="5">
                  <c:v>0.3831</c:v>
                </c:pt>
                <c:pt idx="6">
                  <c:v>0.40150000000000002</c:v>
                </c:pt>
                <c:pt idx="7">
                  <c:v>0.34839999999999999</c:v>
                </c:pt>
              </c:numCache>
            </c:numRef>
          </c:yVal>
          <c:bubbleSize>
            <c:numRef>
              <c:f>Sheet1!$C$2:$C$9</c:f>
              <c:numCache>
                <c:formatCode>General</c:formatCode>
                <c:ptCount val="8"/>
                <c:pt idx="0">
                  <c:v>6740.5301914580259</c:v>
                </c:pt>
                <c:pt idx="1">
                  <c:v>61730.220440881763</c:v>
                </c:pt>
                <c:pt idx="2">
                  <c:v>1325.194805194805</c:v>
                </c:pt>
                <c:pt idx="3">
                  <c:v>52226.907545164722</c:v>
                </c:pt>
                <c:pt idx="4">
                  <c:v>79341.235480464631</c:v>
                </c:pt>
                <c:pt idx="5">
                  <c:v>10304.161712247331</c:v>
                </c:pt>
                <c:pt idx="6">
                  <c:v>14262.722513089009</c:v>
                </c:pt>
                <c:pt idx="7">
                  <c:v>14741.66273584906</c:v>
                </c:pt>
              </c:numCache>
            </c:numRef>
          </c:bubbleSize>
          <c:bubble3D val="0"/>
          <c:extLst>
            <c:ext xmlns:c15="http://schemas.microsoft.com/office/drawing/2012/chart" uri="{02D57815-91ED-43cb-92C2-25804820EDAC}">
              <c15:datalabelsRange>
                <c15:f>Sheet1!$E$2:$E$58</c15:f>
                <c15:dlblRangeCache>
                  <c:ptCount val="57"/>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A825D16B-57E5-418E-9512-51B1B9BD3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7F7BA90-3C17-4735-9292-86AED4ABB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7D1F963-F749-42AB-948A-125A25564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9B763A8-C228-4766-A87D-180A3FCC4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C388E11-6E0E-4AC5-8044-9CFC52BFA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43F4856-6831-4BBC-ADAA-81E84066C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27F4564-8A54-4BC3-BE83-B9ABDD78A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3D806EE-B2E6-4F4E-8CA1-F15A8F37F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DAA717ED-1045-4532-BEAF-81F8B4529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EF32A60C-A54E-4EB2-96A6-3718190F2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7DC02C6-2E59-4453-95ED-CEDF9D3A0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C08CF389-075E-4B5F-96B5-CA7784747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320CC357-7B7B-480C-BC5C-9D91E8D99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83E0F60C-8228-4025-ACB8-4265E89CC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01D3C4B-F087-4EFD-A67E-F24A12651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4ACA2272-87EE-4FAE-A2B9-226D9EB59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E20133C4-A067-4261-9A39-C41F87168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B9F549E6-B764-4118-BFE7-BBE75A9ED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8FEB9B21-ED31-4ED4-8582-D9E25E852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C9E86948-7039-465F-8F63-8E81FD1AE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2ED01232-1E62-437A-8C25-9F593BFA0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B22174A7-8363-43CA-A84D-6A65AEAA8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241D9013-FAE0-41D1-A685-656B7DE5E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EE3F1928-4670-4DDA-98ED-4DBA547BD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E9DF8098-05AA-4960-8D4E-56E76BB82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97DF1697-8C29-42DD-8940-9B65F9D40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406E6869-4A7A-469A-935F-C586A1CB1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426B26DB-57A5-47C2-B741-C5B95055C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67F4F0AD-D0F0-4319-AA80-3EC33DAB4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84A2C521-0CBA-4BF2-94C3-E1A1F6057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EA1AAE81-6384-4482-94E8-E8CC7A748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B6E3C8D3-5448-4E1D-A406-250030B33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9E17B086-E2F4-48BD-97DF-11CDF7F2E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3597F756-0C3E-4A29-ADCF-48AE000D1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31C81A1F-E58A-4479-AF7A-4787E1D94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2C661DAE-2D0E-4DDF-B491-738E5AA1A6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8ACFFF7A-72D4-4508-87E6-C6E49F6DF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D540768-7457-49A5-9B64-20E197478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ED5B9292-55A8-4A1C-B54A-82724EBD7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ECC72AC5-27D9-4B18-9E11-8035A0F4E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FE16FAF8-37DB-47F8-A462-3C1784397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1200A06-7605-4636-ADF0-6BD53701B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FD9AD6F9-D1BE-4752-A20E-2054C0501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0B2AB1D1-8DB0-4B98-974B-C14CA8988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043E970-6AE3-4BA2-8A4C-D69A070B9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CB8742E9-85F2-4E8E-9D48-A730B0445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8AD547CF-3698-4928-B365-05E6CA38A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B0BEAEC-CBD7-4119-B197-D5185FBED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ED32CC8-2D1F-405B-B85E-E98B766FB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A62E2E5D-23F5-4CE5-8002-63092BFF1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81D3E2F8-541A-49B0-83FB-B135B9632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DAA3EE5-B85C-4A18-81A7-AC5CBD567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0A75C84-5973-4398-87C5-FEBB5DE60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876456C-CF59-4A6B-8F76-BFD75A18C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79A68D1F-15C9-4FFF-A0DA-A0D52DEA9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A05801C3-A9CE-4AAA-AD24-678389DF4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381A65B6-36F8-4DAC-BC7B-ADCD2C855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8</c:f>
              <c:numCache>
                <c:formatCode>General</c:formatCode>
                <c:ptCount val="7"/>
                <c:pt idx="0">
                  <c:v>0.37940000000000002</c:v>
                </c:pt>
                <c:pt idx="1">
                  <c:v>0.3014</c:v>
                </c:pt>
                <c:pt idx="2">
                  <c:v>0.39889999999999998</c:v>
                </c:pt>
                <c:pt idx="3">
                  <c:v>0.33850000000000002</c:v>
                </c:pt>
                <c:pt idx="4">
                  <c:v>0.2631</c:v>
                </c:pt>
                <c:pt idx="5">
                  <c:v>0.35049999999999998</c:v>
                </c:pt>
                <c:pt idx="6">
                  <c:v>0.35210000000000002</c:v>
                </c:pt>
              </c:numCache>
            </c:numRef>
          </c:xVal>
          <c:yVal>
            <c:numRef>
              <c:f>Sheet1!$B$2:$B$8</c:f>
              <c:numCache>
                <c:formatCode>General</c:formatCode>
                <c:ptCount val="7"/>
                <c:pt idx="0">
                  <c:v>0.1764</c:v>
                </c:pt>
                <c:pt idx="1">
                  <c:v>0.45519999999999999</c:v>
                </c:pt>
                <c:pt idx="2">
                  <c:v>0.37559999999999999</c:v>
                </c:pt>
                <c:pt idx="3">
                  <c:v>0.43509999999999999</c:v>
                </c:pt>
                <c:pt idx="4">
                  <c:v>0.21809999999999999</c:v>
                </c:pt>
                <c:pt idx="5">
                  <c:v>0.499</c:v>
                </c:pt>
                <c:pt idx="6">
                  <c:v>0.39939999999999998</c:v>
                </c:pt>
              </c:numCache>
            </c:numRef>
          </c:yVal>
          <c:bubbleSize>
            <c:numRef>
              <c:f>Sheet1!$C$2:$C$8</c:f>
              <c:numCache>
                <c:formatCode>General</c:formatCode>
                <c:ptCount val="7"/>
                <c:pt idx="0">
                  <c:v>81394.755784061694</c:v>
                </c:pt>
                <c:pt idx="1">
                  <c:v>42862.613908872903</c:v>
                </c:pt>
                <c:pt idx="2">
                  <c:v>34465.816649104323</c:v>
                </c:pt>
                <c:pt idx="3">
                  <c:v>25172.049180327871</c:v>
                </c:pt>
                <c:pt idx="4">
                  <c:v>16379.70670391062</c:v>
                </c:pt>
                <c:pt idx="5">
                  <c:v>47708.959595959597</c:v>
                </c:pt>
                <c:pt idx="6">
                  <c:v>5967.6095617529882</c:v>
                </c:pt>
              </c:numCache>
            </c:numRef>
          </c:bubbleSize>
          <c:bubble3D val="0"/>
          <c:extLst>
            <c:ext xmlns:c15="http://schemas.microsoft.com/office/drawing/2012/chart" uri="{02D57815-91ED-43cb-92C2-25804820EDAC}">
              <c15:datalabelsRange>
                <c15:f>Sheet1!$E$2:$E$58</c15:f>
                <c15:dlblRangeCache>
                  <c:ptCount val="57"/>
                  <c:pt idx="0">
                    <c:v>Kiri Creme Fromage Blanc Frais Carre 1X432Gr 24P</c:v>
                  </c:pt>
                  <c:pt idx="1">
                    <c:v>Kiri Creme Fromage Blanc Frais Carre 1X216Gr 12P</c:v>
                  </c:pt>
                  <c:pt idx="2">
                    <c:v>Kiri Gouter Fromage Blanc Dips Boite 1X175Gr 5P</c:v>
                  </c:pt>
                  <c:pt idx="3">
                    <c:v>Kiri Gouter Fromage Blanc Dips Boite 1X280Gr 8P</c:v>
                  </c:pt>
                  <c:pt idx="4">
                    <c:v>Kiri Creme Fromage Blanc Frais Carre 1X432Gr 18+6P</c:v>
                  </c:pt>
                  <c:pt idx="5">
                    <c:v>Kiri Creme Fromage Blanc Frais Carre 1X144Gr 8P</c:v>
                  </c:pt>
                  <c:pt idx="6">
                    <c:v>Kiri Bio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F7DAB29-A62E-4AF3-B9BE-BABFA619C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A5D8942-734A-4702-B4AC-EC1A4EB81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D3F5ADF-80DD-475A-B042-979065A3F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1036457-BF99-4486-802F-AF4B9040A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7BBFB3F-80E2-4012-ACB9-D9936F124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46B3193-1533-4E92-87BD-7FA23370A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DA3EF68-B33B-46F8-9B00-74CBA48E5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E4CB606-494D-46FD-ADEC-BC1ACD49F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1B9260B-D020-4C6A-AA4E-61E548B80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DBF541E-F69E-493D-B01B-628F302BE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3443028-EE47-497B-9C39-2B41FB01D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9841724-85A2-49B9-A603-DA220AEB9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E65FF25-AC7A-4567-B1F2-5C6EB02D6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5DBBE93A-FB1D-42D8-B2E4-F9A6903BB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E2FBA454-8168-418A-ADFC-9AB514EFE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3FD6CBE2-964B-43D4-9B18-0F006675E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78C6F1A9-0498-4221-A121-F0B3EE86D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6EC7A084-FE97-4DEF-B235-D8C3EC01B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02D3B82E-47E4-4005-B968-977796DAB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378BCEFC-1A7A-4895-9A52-C1743CBCF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B6527649-0BB3-4C27-BB1F-8EA2B99F4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A21F5208-AE4E-48D9-81CB-99AB5E513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E4CD2CC1-50C4-48A5-BB2A-E5429A65D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F2F8D89-1292-4534-AF5B-4ADAAA4FA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E334E71C-8345-4A82-AB7B-443D89DA6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C35C786-11EB-47E0-AEF4-6BB89E33D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ECF43A1-EA03-4759-A573-EADD37F80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E064EC7-6276-4412-9130-794550D3E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305D67D4-0C6E-4408-A4AF-DC8916A4C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A0FDACE9-4EF4-4872-87BE-9155E1002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61218235-5A1E-4F02-9667-8BC49BBE1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02A18517-0122-4911-8FD7-1AE3B2BC2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16601D37-A74B-46BF-A6C5-3AAA26785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92DBC08-D786-4BC6-A5F7-FDECE2B8E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C85296E-25A5-4D11-A5D3-B9631FB91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DF43896B-93E0-4DFB-BC6F-89239438A8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3AA571E9-0F05-413D-8609-A3431F748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13901D48-42B1-4DFF-9AF5-1C0DF6493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A6877CD-B9DF-4D9C-85A5-48A616F51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689AD3CA-7EFD-4AA8-B7B6-B57A64EA78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A855D4ED-7B17-4D7F-9EC3-4C4BE44DB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4012F5C9-D12E-4939-A371-E115CBC7D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11C208DB-48B0-4704-8A18-A9CBCB9D9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9279D72B-38FE-4CFA-ABBA-3513FAF85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04F6F808-9203-4978-99D9-7F419AAEF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48805480-7D6D-4F71-8808-C6B10DB0A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E572E66B-6CF8-4E9E-B52B-AA059743D3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8BC432C-346C-41AC-A2D3-EA0AEF8BC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63FC772A-362A-46F8-9D6B-B2B5E5D9D8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C34A93F3-BE24-46A3-8981-6FD4709F5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A5AC7BE-88D3-46E7-B5C0-1BAC129EA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0111FE01-9B78-4D83-827C-F951801B9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74BF30A7-19A3-4627-AB41-1B2764982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503D323D-3D51-4326-BCCC-BE1F2F0B2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DC2EA3FE-5C73-46DD-8FA1-6E6B79B0B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30F7777C-218C-43A1-942B-C12EA3D62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2E6FAFBF-CC00-46A2-993F-3627E0429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43109999999999998</c:v>
                </c:pt>
                <c:pt idx="1">
                  <c:v>0.41099999999999998</c:v>
                </c:pt>
                <c:pt idx="2">
                  <c:v>0.40870000000000001</c:v>
                </c:pt>
                <c:pt idx="3">
                  <c:v>0.25490000000000002</c:v>
                </c:pt>
                <c:pt idx="4">
                  <c:v>0.3306</c:v>
                </c:pt>
                <c:pt idx="5">
                  <c:v>0.3155</c:v>
                </c:pt>
                <c:pt idx="6">
                  <c:v>0.37190000000000001</c:v>
                </c:pt>
                <c:pt idx="7">
                  <c:v>0.41449999999999998</c:v>
                </c:pt>
                <c:pt idx="8">
                  <c:v>0.56910000000000005</c:v>
                </c:pt>
                <c:pt idx="9">
                  <c:v>0.48430000000000001</c:v>
                </c:pt>
                <c:pt idx="10">
                  <c:v>0.36270000000000002</c:v>
                </c:pt>
                <c:pt idx="11">
                  <c:v>0.33939999999999998</c:v>
                </c:pt>
              </c:numCache>
            </c:numRef>
          </c:xVal>
          <c:yVal>
            <c:numRef>
              <c:f>Sheet1!$B$2:$B$13</c:f>
              <c:numCache>
                <c:formatCode>General</c:formatCode>
                <c:ptCount val="12"/>
                <c:pt idx="0">
                  <c:v>0.39789999999999998</c:v>
                </c:pt>
                <c:pt idx="1">
                  <c:v>0.44550000000000001</c:v>
                </c:pt>
                <c:pt idx="2">
                  <c:v>0.438</c:v>
                </c:pt>
                <c:pt idx="3">
                  <c:v>0.1852</c:v>
                </c:pt>
                <c:pt idx="4">
                  <c:v>0.30149999999999999</c:v>
                </c:pt>
                <c:pt idx="5">
                  <c:v>0.14399999999999999</c:v>
                </c:pt>
                <c:pt idx="6">
                  <c:v>0.4461</c:v>
                </c:pt>
                <c:pt idx="7">
                  <c:v>0.49409999999999998</c:v>
                </c:pt>
                <c:pt idx="8">
                  <c:v>0.70169999999999999</c:v>
                </c:pt>
                <c:pt idx="9">
                  <c:v>0.12820000000000001</c:v>
                </c:pt>
                <c:pt idx="10">
                  <c:v>0.43030000000000002</c:v>
                </c:pt>
                <c:pt idx="11">
                  <c:v>0.46029999999999999</c:v>
                </c:pt>
              </c:numCache>
            </c:numRef>
          </c:yVal>
          <c:bubbleSize>
            <c:numRef>
              <c:f>Sheet1!$C$2:$C$13</c:f>
              <c:numCache>
                <c:formatCode>General</c:formatCode>
                <c:ptCount val="12"/>
                <c:pt idx="0">
                  <c:v>8120.5405405405409</c:v>
                </c:pt>
                <c:pt idx="1">
                  <c:v>64775.474006116208</c:v>
                </c:pt>
                <c:pt idx="2">
                  <c:v>0</c:v>
                </c:pt>
                <c:pt idx="3">
                  <c:v>19364.593103448271</c:v>
                </c:pt>
                <c:pt idx="4">
                  <c:v>72823.240534521159</c:v>
                </c:pt>
                <c:pt idx="5">
                  <c:v>143117.4607013301</c:v>
                </c:pt>
                <c:pt idx="6">
                  <c:v>7373.9595959595963</c:v>
                </c:pt>
                <c:pt idx="7">
                  <c:v>22077.01729106628</c:v>
                </c:pt>
                <c:pt idx="8">
                  <c:v>29388.75</c:v>
                </c:pt>
                <c:pt idx="9">
                  <c:v>3280.8506224066391</c:v>
                </c:pt>
                <c:pt idx="10">
                  <c:v>19583.832599118941</c:v>
                </c:pt>
                <c:pt idx="11">
                  <c:v>10205.71428571429</c:v>
                </c:pt>
              </c:numCache>
            </c:numRef>
          </c:bubbleSize>
          <c:bubble3D val="0"/>
          <c:extLst>
            <c:ext xmlns:c15="http://schemas.microsoft.com/office/drawing/2012/chart" uri="{02D57815-91ED-43cb-92C2-25804820EDAC}">
              <c15:datalabelsRange>
                <c15:f>Sheet1!$E$2:$E$58</c15:f>
                <c15:dlblRangeCache>
                  <c:ptCount val="57"/>
                  <c:pt idx="0">
                    <c:v>La Vache Qui Rit Aro Fromage Fondu Boite Ronde Jambon 1X133Gr 8P</c:v>
                  </c:pt>
                  <c:pt idx="1">
                    <c:v>La Vache Qui Rit Nature Fromage Fondu Boite Ronde 1X192Gr 12P</c:v>
                  </c:pt>
                  <c:pt idx="2">
                    <c:v>La Vache Qui Rit Nature Fromage Fondu Boite Ronde 1X256Gr 16P</c:v>
                  </c:pt>
                  <c:pt idx="3">
                    <c:v>La Vache Qui Rit Nature Fromage Fondu Boite Ronde 1X512Gr 24+8P</c:v>
                  </c:pt>
                  <c:pt idx="4">
                    <c:v>La Vache Qui Rit Nature Fromage Fondu Boite Ronde 1X384Gr 24P</c:v>
                  </c:pt>
                  <c:pt idx="5">
                    <c:v>La Vache Qui Rit Nature Fromage Fondu Boite Ronde 1X512Gr 32P</c:v>
                  </c:pt>
                  <c:pt idx="6">
                    <c:v>La Vache Qui Rit Allegee Fromage Fondu Boite Ronde Allege 1X267Gr 16P</c:v>
                  </c:pt>
                  <c:pt idx="7">
                    <c:v>La Vache Qui Rit Nature Fromage Fondu Boite Ronde 1X128Gr 8P</c:v>
                  </c:pt>
                  <c:pt idx="8">
                    <c:v>La Vache Qui Rit Pik Et Croq' Fromage Fondu Dips Boite 1X35Gr 1P</c:v>
                  </c:pt>
                  <c:pt idx="9">
                    <c:v>La Vache Qui Rit Bio Fromage Fondu Boite Ronde 1X128Gr 8P</c:v>
                  </c:pt>
                  <c:pt idx="10">
                    <c:v>La Vache Qui Rit Pik Et Croq' Fromage Fondu Dips Boite 1X175Gr 5P</c:v>
                  </c:pt>
                  <c:pt idx="11">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ED7F026-7A8A-4C0B-9C69-4547DEFFC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CBF92E2-C8DA-45A9-AD04-AC5A8BCE7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85E80D7-728E-4377-A8E9-6D057FB14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BD8AC1E-6A66-4956-815A-7667EB0B7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911FC40-1D9A-4E4C-B7B6-9B3281508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0BB5B78E-6351-406D-9B89-D7BBF2050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6A95450-77EE-48F5-8D6F-751C3B96A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A1963E10-752F-47D0-9BEA-5917A4546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8DF16FA-228A-40CB-8EC4-857985FF2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E8FF24A-65ED-4E69-81F6-30B9F4B99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84AED58-1CE9-4FBC-943D-AF31DA787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79ED31EE-7575-4D34-8079-6CD4A5FF2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290D0274-8C03-4953-9CF4-29E7B9511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814FEB43-2670-4DF2-9870-CE3C01EBB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418E15CF-4EBE-4109-9EC6-740A38E3A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940F2863-7560-45EE-8FB1-A639BBD3A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84DB1666-E0CE-4286-83AF-D4FA76A96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56148AF0-4EFD-471E-B0F9-2469B5FC3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FB45B0AD-58C9-43C9-BE14-94BA485ED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7AE667E5-E39A-4ACB-82DC-4B58567B1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DDE1946E-9D25-4C2D-B9E7-EC8BF43F8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E9538D8A-5B21-4B1E-85C2-70908894F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A6908B8C-FD5E-4802-A8E4-59173732F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55196CAF-AE7B-4ADB-ABD9-518ADD62A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0EBCD3C0-45CA-4213-AFAC-62B530442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1CAD23FE-B282-4793-A11C-A65F5929D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354EAF8B-C9BC-4DB4-8957-DDEFE17EC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10E1FCD8-41D3-4A06-B1FA-D67AA5B28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86C28125-2058-44CD-AFAE-525CB94A1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350D8C9F-D3B7-4F5B-87E0-B63E33E1F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0812BC60-2A08-409C-9165-033819163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AD7FEA4-FC4F-4980-8B98-BC38CF5234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89F44F1-945A-4490-8A6C-CD3DDD4A8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E5444DA4-3F83-495C-BF11-9BA0792A7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B1AD9DD5-341A-41CC-A69A-AF0B1A6DF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9A89257-0CBE-429A-8680-80F0E1681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5A30B443-8FEF-4EA7-A1B3-6BE7EA2AD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07F9A3C1-77CB-401C-B413-1ACF9E1AB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2A49A353-BDEB-4D5F-98A3-E64360377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DEB7B26D-546F-42A1-AADB-7A21DFAFC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F42C132F-174E-438B-B83E-4B5396EE8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6BD6A000-04BA-418E-AA33-E1EC814AD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7918917C-B926-49FD-BD1A-44008B1E0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494BACC0-A820-4714-93F4-DFFE68C91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16779F0F-DB9B-4943-AF16-9486D04C0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EA51834-6FCE-4F9C-A1A9-33946B66B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EB0F2D21-F17E-4F63-A5F5-90F429B51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FA0C80F9-2E34-44B8-81AF-C89D1A0AB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E664CEB-1E49-401C-803E-308B5EE98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A41D1534-9E5A-492C-AA0F-020B700556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F237F157-9361-4268-B17A-0B2D22E0B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FCCB655-F22F-43A5-8839-18B14D7F43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10B7CDDB-0262-4506-B97A-1B8496AE4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75B6FFA9-1296-41E7-9D53-AB0EE30BB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6703F9B2-7E1B-410B-A306-71C32AA3E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AE55A662-044D-4F29-BDF3-7F3CAAEDA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40A823EE-BAA1-4FEA-AA30-68A7E4DA5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7940000000000002</c:v>
                </c:pt>
                <c:pt idx="1">
                  <c:v>0.3014</c:v>
                </c:pt>
                <c:pt idx="2">
                  <c:v>0.42080000000000001</c:v>
                </c:pt>
                <c:pt idx="3">
                  <c:v>0.40210000000000001</c:v>
                </c:pt>
                <c:pt idx="4">
                  <c:v>0.39889999999999998</c:v>
                </c:pt>
                <c:pt idx="5">
                  <c:v>0.33850000000000002</c:v>
                </c:pt>
                <c:pt idx="6">
                  <c:v>0.2631</c:v>
                </c:pt>
                <c:pt idx="7">
                  <c:v>0.35049999999999998</c:v>
                </c:pt>
                <c:pt idx="8">
                  <c:v>0.35210000000000002</c:v>
                </c:pt>
                <c:pt idx="9">
                  <c:v>0.38840000000000002</c:v>
                </c:pt>
              </c:numCache>
            </c:numRef>
          </c:xVal>
          <c:yVal>
            <c:numRef>
              <c:f>Sheet1!$B$2:$B$11</c:f>
              <c:numCache>
                <c:formatCode>General</c:formatCode>
                <c:ptCount val="10"/>
                <c:pt idx="0">
                  <c:v>0.1764</c:v>
                </c:pt>
                <c:pt idx="1">
                  <c:v>0.45519999999999999</c:v>
                </c:pt>
                <c:pt idx="2">
                  <c:v>0.40160000000000001</c:v>
                </c:pt>
                <c:pt idx="3">
                  <c:v>0.3861</c:v>
                </c:pt>
                <c:pt idx="4">
                  <c:v>0.37559999999999999</c:v>
                </c:pt>
                <c:pt idx="5">
                  <c:v>0.43509999999999999</c:v>
                </c:pt>
                <c:pt idx="6">
                  <c:v>0.21809999999999999</c:v>
                </c:pt>
                <c:pt idx="7">
                  <c:v>0.499</c:v>
                </c:pt>
                <c:pt idx="8">
                  <c:v>0.39939999999999998</c:v>
                </c:pt>
                <c:pt idx="9">
                  <c:v>0.32579999999999998</c:v>
                </c:pt>
              </c:numCache>
            </c:numRef>
          </c:yVal>
          <c:bubbleSize>
            <c:numRef>
              <c:f>Sheet1!$C$2:$C$11</c:f>
              <c:numCache>
                <c:formatCode>General</c:formatCode>
                <c:ptCount val="10"/>
                <c:pt idx="0">
                  <c:v>81394.755784061694</c:v>
                </c:pt>
                <c:pt idx="1">
                  <c:v>42862.613908872903</c:v>
                </c:pt>
                <c:pt idx="2">
                  <c:v>9290.7881136950891</c:v>
                </c:pt>
                <c:pt idx="3">
                  <c:v>7421.5241057542771</c:v>
                </c:pt>
                <c:pt idx="4">
                  <c:v>34465.816649104323</c:v>
                </c:pt>
                <c:pt idx="5">
                  <c:v>25172.049180327871</c:v>
                </c:pt>
                <c:pt idx="6">
                  <c:v>16379.70670391062</c:v>
                </c:pt>
                <c:pt idx="7">
                  <c:v>47708.959595959597</c:v>
                </c:pt>
                <c:pt idx="8">
                  <c:v>5967.6095617529882</c:v>
                </c:pt>
                <c:pt idx="9">
                  <c:v>5613.8606676342533</c:v>
                </c:pt>
              </c:numCache>
            </c:numRef>
          </c:bubbleSize>
          <c:bubble3D val="0"/>
          <c:extLst>
            <c:ext xmlns:c15="http://schemas.microsoft.com/office/drawing/2012/chart" uri="{02D57815-91ED-43cb-92C2-25804820EDAC}">
              <c15:datalabelsRange>
                <c15:f>Sheet1!$E$2:$E$58</c15:f>
                <c15:dlblRangeCache>
                  <c:ptCount val="57"/>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Gouter Fromage Blanc Dips Boite 1X175Gr 5P</c:v>
                  </c:pt>
                  <c:pt idx="5">
                    <c:v>Kiri Gouter Fromage Blanc Dips Boite 1X280Gr 8P</c:v>
                  </c:pt>
                  <c:pt idx="6">
                    <c:v>Kiri Creme Fromage Blanc Frais Carre 1X432Gr 18+6P</c:v>
                  </c:pt>
                  <c:pt idx="7">
                    <c:v>Kiri Creme Fromage Blanc Frais Carre 1X144Gr 8P</c:v>
                  </c:pt>
                  <c:pt idx="8">
                    <c:v>Kiri Bio Fromage Blanc Frais Carre 1X144Gr 8P</c:v>
                  </c:pt>
                  <c:pt idx="9">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1DA3FD5-7F2B-456C-83AD-268C39A97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799120C-3A9C-4731-8E1B-7F95FD7EA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59422BE-AA40-4CC1-B878-904B4F339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10865F0-DE9B-4495-B06A-983E7F3F3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35D3A49-1CE6-48AA-8DE4-F8FC1F829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5A6BED3-28C7-4F2B-B87E-C1F2A4C01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828827C-D944-4A0A-902E-04EA1C5AE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E4D9B3F-44D3-4703-997F-597100F2AA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FBDDE1D2-D3DF-492A-89C7-2710D7043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4B1EC33-B510-49D0-B60E-85BFC9129D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68F753E-E301-409E-9BF8-380B71C32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91DD700-EF17-48BD-9AC7-B9F6EBE21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C6AFA2A-3F99-49BD-9576-61CAB76DE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32D5AE56-7839-4AA6-B27F-B5073B54B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D9A8DA12-188E-4AF3-9C57-43B6E5041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EC743C9F-A013-4B52-8FFF-8EF4C23AD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57727445-05E9-45C8-AE64-8AEAA79709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E534EFAD-5572-4036-8D4B-C701F35ED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65EC5E46-532E-4836-875D-129516BEB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40D9AF29-852B-4631-9A22-05CDA03E6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0EF5233F-4E40-4C76-B3A2-99C25425C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1060A30B-3818-467D-AE0A-41A2B94F2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EE722A20-1143-4FF6-BFAB-EFE577278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CE12B6E4-0353-4F50-8E20-457FC55F4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5E4CF8A6-E2CF-4142-9BD3-8E5382ECC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DB35AB2D-6793-4293-937C-E5295E4EB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6B3F4AC2-3D34-4A81-B71A-7A45706ED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032EFDA9-336F-4034-8B1D-D7048318B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7F24A4D2-8071-4785-896D-3534333AC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232C666C-1D82-447F-BBE6-3265867BB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213FFB93-19A4-4D58-9A9A-8CD9F60BA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653255A3-1EEE-46E6-85B5-495E8FCEF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9F4E86C1-40CF-4959-9A2B-38BC7029F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EC605C77-DBF4-48E0-A598-54ED944C5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C91B1514-484C-4EE8-8D55-4EFBEB867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6E7D9A4-93DC-4EFD-88B7-EBB38BF38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C79AEE27-F1A2-4C6E-901D-004B63560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170AF9ED-E0A2-4DE0-8E31-76C98074A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BFB72294-D333-45EE-974C-D4100A76D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4C2B5F7D-3B51-4D4A-AD8D-0BE5D51E2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ADA0179C-2713-4CE9-8950-4DC475DFC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B6D351D0-CFF1-411E-AB22-136E3A3AA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6E79FE59-4B7E-447C-8E34-B3FF071FE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E9251F29-2FBA-4EB6-8032-16EFFEC10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8DF8DB66-FDF5-418A-9311-5D2572A7B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2FAADF69-7BEA-41CF-A7F5-3797B2078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D5F3702-F87D-42B1-A4BA-0FD7A36819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7DD64F55-4F5E-432F-9618-D0CDCED34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F19B69C0-66D3-4DF1-BAA2-F13BECB0F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0BACB34C-CC88-4CEB-A5CF-082FB8C8B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E39849C-AB53-4722-843A-FE1BFC3A6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27341ACE-94E5-480C-A36E-3E834E1ED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91BDA76D-E30F-4DD9-B9EA-2BF354D27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16F2D2A-8082-4EF4-AE28-A75AC713C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B28D557C-1E5D-4E66-8D71-A82F83F49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250FD75B-7268-4A00-9A93-9FCA0D9B5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37E4543B-A5BC-4CE7-9734-BD20E27C4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43109999999999998</c:v>
                </c:pt>
                <c:pt idx="1">
                  <c:v>0.41099999999999998</c:v>
                </c:pt>
                <c:pt idx="2">
                  <c:v>0.40870000000000001</c:v>
                </c:pt>
                <c:pt idx="3">
                  <c:v>0.25490000000000002</c:v>
                </c:pt>
                <c:pt idx="4">
                  <c:v>0.3306</c:v>
                </c:pt>
                <c:pt idx="5">
                  <c:v>0.3155</c:v>
                </c:pt>
                <c:pt idx="6">
                  <c:v>0.37190000000000001</c:v>
                </c:pt>
                <c:pt idx="7">
                  <c:v>0.41449999999999998</c:v>
                </c:pt>
                <c:pt idx="8">
                  <c:v>0.56910000000000005</c:v>
                </c:pt>
                <c:pt idx="9">
                  <c:v>0.48430000000000001</c:v>
                </c:pt>
                <c:pt idx="10">
                  <c:v>0.36270000000000002</c:v>
                </c:pt>
                <c:pt idx="11">
                  <c:v>0.33939999999999998</c:v>
                </c:pt>
              </c:numCache>
            </c:numRef>
          </c:xVal>
          <c:yVal>
            <c:numRef>
              <c:f>Sheet1!$B$2:$B$13</c:f>
              <c:numCache>
                <c:formatCode>General</c:formatCode>
                <c:ptCount val="12"/>
                <c:pt idx="0">
                  <c:v>0.39789999999999998</c:v>
                </c:pt>
                <c:pt idx="1">
                  <c:v>0.44550000000000001</c:v>
                </c:pt>
                <c:pt idx="2">
                  <c:v>0.438</c:v>
                </c:pt>
                <c:pt idx="3">
                  <c:v>0.1852</c:v>
                </c:pt>
                <c:pt idx="4">
                  <c:v>0.30149999999999999</c:v>
                </c:pt>
                <c:pt idx="5">
                  <c:v>0.14399999999999999</c:v>
                </c:pt>
                <c:pt idx="6">
                  <c:v>0.4461</c:v>
                </c:pt>
                <c:pt idx="7">
                  <c:v>0.49409999999999998</c:v>
                </c:pt>
                <c:pt idx="8">
                  <c:v>0.70169999999999999</c:v>
                </c:pt>
                <c:pt idx="9">
                  <c:v>0.12820000000000001</c:v>
                </c:pt>
                <c:pt idx="10">
                  <c:v>0.43030000000000002</c:v>
                </c:pt>
                <c:pt idx="11">
                  <c:v>0.46029999999999999</c:v>
                </c:pt>
              </c:numCache>
            </c:numRef>
          </c:yVal>
          <c:bubbleSize>
            <c:numRef>
              <c:f>Sheet1!$C$2:$C$13</c:f>
              <c:numCache>
                <c:formatCode>General</c:formatCode>
                <c:ptCount val="12"/>
                <c:pt idx="0">
                  <c:v>8120.5405405405409</c:v>
                </c:pt>
                <c:pt idx="1">
                  <c:v>64775.474006116208</c:v>
                </c:pt>
                <c:pt idx="2">
                  <c:v>0</c:v>
                </c:pt>
                <c:pt idx="3">
                  <c:v>19364.593103448271</c:v>
                </c:pt>
                <c:pt idx="4">
                  <c:v>72823.240534521159</c:v>
                </c:pt>
                <c:pt idx="5">
                  <c:v>143117.4607013301</c:v>
                </c:pt>
                <c:pt idx="6">
                  <c:v>7373.9595959595963</c:v>
                </c:pt>
                <c:pt idx="7">
                  <c:v>22077.01729106628</c:v>
                </c:pt>
                <c:pt idx="8">
                  <c:v>29388.75</c:v>
                </c:pt>
                <c:pt idx="9">
                  <c:v>3280.8506224066391</c:v>
                </c:pt>
                <c:pt idx="10">
                  <c:v>19583.832599118941</c:v>
                </c:pt>
                <c:pt idx="11">
                  <c:v>10205.71428571429</c:v>
                </c:pt>
              </c:numCache>
            </c:numRef>
          </c:bubbleSize>
          <c:bubble3D val="0"/>
          <c:extLst>
            <c:ext xmlns:c15="http://schemas.microsoft.com/office/drawing/2012/chart" uri="{02D57815-91ED-43cb-92C2-25804820EDAC}">
              <c15:datalabelsRange>
                <c15:f>Sheet1!$E$2:$E$58</c15:f>
                <c15:dlblRangeCache>
                  <c:ptCount val="57"/>
                  <c:pt idx="0">
                    <c:v>La Vache Qui Rit Aro Fromage Fondu Boite Ronde Jambon 1X133Gr 8P</c:v>
                  </c:pt>
                  <c:pt idx="1">
                    <c:v>La Vache Qui Rit Nature Fromage Fondu Boite Ronde 1X192Gr 12P</c:v>
                  </c:pt>
                  <c:pt idx="2">
                    <c:v>La Vache Qui Rit Nature Fromage Fondu Boite Ronde 1X256Gr 16P</c:v>
                  </c:pt>
                  <c:pt idx="3">
                    <c:v>La Vache Qui Rit Nature Fromage Fondu Boite Ronde 1X512Gr 24+8P</c:v>
                  </c:pt>
                  <c:pt idx="4">
                    <c:v>La Vache Qui Rit Nature Fromage Fondu Boite Ronde 1X384Gr 24P</c:v>
                  </c:pt>
                  <c:pt idx="5">
                    <c:v>La Vache Qui Rit Nature Fromage Fondu Boite Ronde 1X512Gr 32P</c:v>
                  </c:pt>
                  <c:pt idx="6">
                    <c:v>La Vache Qui Rit Allegee Fromage Fondu Boite Ronde Allege 1X267Gr 16P</c:v>
                  </c:pt>
                  <c:pt idx="7">
                    <c:v>La Vache Qui Rit Nature Fromage Fondu Boite Ronde 1X128Gr 8P</c:v>
                  </c:pt>
                  <c:pt idx="8">
                    <c:v>La Vache Qui Rit Pik Et Croq' Fromage Fondu Dips Boite 1X35Gr 1P</c:v>
                  </c:pt>
                  <c:pt idx="9">
                    <c:v>La Vache Qui Rit Bio Fromage Fondu Boite Ronde 1X128Gr 8P</c:v>
                  </c:pt>
                  <c:pt idx="10">
                    <c:v>La Vache Qui Rit Pik Et Croq' Fromage Fondu Dips Boite 1X175Gr 5P</c:v>
                  </c:pt>
                  <c:pt idx="11">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63FC16E-EDAE-4B7D-A192-BDF730C3D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45CB770-196B-41FB-8093-56112416A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6392DE4-A396-4D7F-B96A-C1D1D30B7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0EFC3649-A80F-4218-B22E-1ED9B7565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6A58655-7582-4F69-8F8A-8EF9189DF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21935A2-D06C-4A40-A70A-77693AFA8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55F7EB7-605C-472D-A3C9-F565BEB39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06A890A-F947-453A-B438-EC6E93905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D17F560-B276-4C95-A9EE-1D1123D0F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165F04E-A87A-4052-B519-029BBD1C2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55F45CD-A1C5-46C0-9E19-6B3E6836D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162D3E0-D4FB-41FF-9B1F-C2FD97C47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941BC755-2F40-423F-BCE2-0947FFBD2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25710B7-27B2-42EA-8F09-B4924DE87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98A73BC-D55C-40F8-858D-E34168F94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387F632-BD2A-4873-8614-150493AF2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284FF32-74D6-4E27-8FDF-3AA9D9958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5C734B7B-BCBB-4CF7-BC3D-69A0A9F97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5F4F94A5-1A1B-4388-ABD1-99425E6AA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33E9A9A-49EF-4006-B6A3-89391F9C0B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2295CC6-1398-47F4-9AD3-8CAF8AD1F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216EB9C-CB6F-4826-8CC7-B08D3D5A8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375C500-6E77-40F2-AFA1-CFBBB6DD7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02991813-DE4C-48EC-A3FF-5165A411A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EFDC1D47-1E9C-4121-82D8-583BA967E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E26CD71C-F6B4-4DBB-B89A-ADAED5BEC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FD379C7B-8CBB-4834-B54E-EED879213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2D2938E4-189C-435E-9C41-6ABEDFAB4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41F20CF-CAFE-4721-A92F-A9B6A038D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8D6A8808-6C89-4914-8AE7-FEF01D6D9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473C3891-10B8-422A-88EB-BD6D9FCC9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1BBB1ECA-2826-4091-8A0A-A7CD73610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42F7332-48F8-43FF-B80D-E3A890594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600BC20C-3B08-4866-AB78-9745FDBEDB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8D561E68-28D4-4729-B780-C4E71851E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860C74B2-5CA5-45D5-B271-7462D3CDB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3DEE840F-43E3-4658-85B6-8096CA7CC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B135658F-617B-4650-A614-A02C27053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6766EDDC-7825-4903-B27F-8A90B0F04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53A5E165-1029-43DA-A985-48F6EF3C6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A550BB7A-3F60-4100-819D-0D7231F21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8109DF85-BA23-429C-85E2-76FFB2235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CC5F96DB-8550-4D46-8B54-41254B4DD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8207C0BF-CBF7-42BF-A0C5-ECA73DF60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B6A8E90C-BC0C-4092-8BAA-243BD536A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273012C9-BAF1-4E1F-8BC9-B74058B43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1DA82F3F-2541-4E98-BCB2-89ACE6B84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FAE9894-FDAD-4BA1-93EE-62DD28B9A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EB3604D-EF85-4B00-AC3A-ABC0E5476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3C86C8C3-08D9-4716-BA53-F102698C2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BA09D6CB-D8E6-4456-A422-CEDF852AA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6DEFD95B-222A-4320-9E9B-4FF6F8B1A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7FB101BF-AE76-4EF2-9F8E-10DE0704B8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76227C47-8E88-4083-B691-1EDCEE46D7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B5782C07-6E46-409F-89BB-BADDE6802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84D2728C-B4B8-44F9-A22E-2B91BB7BE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F5BF42DD-AB46-44B0-BAC8-895B72DB2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0</c:f>
              <c:numCache>
                <c:formatCode>General</c:formatCode>
                <c:ptCount val="29"/>
                <c:pt idx="0">
                  <c:v>0.3483</c:v>
                </c:pt>
                <c:pt idx="1">
                  <c:v>0.307</c:v>
                </c:pt>
                <c:pt idx="2">
                  <c:v>0.3422</c:v>
                </c:pt>
                <c:pt idx="3">
                  <c:v>0.3775</c:v>
                </c:pt>
                <c:pt idx="4">
                  <c:v>0.35499999999999998</c:v>
                </c:pt>
                <c:pt idx="5">
                  <c:v>0.34489999999999998</c:v>
                </c:pt>
                <c:pt idx="6">
                  <c:v>0.3926</c:v>
                </c:pt>
                <c:pt idx="7">
                  <c:v>0.44700000000000001</c:v>
                </c:pt>
                <c:pt idx="8">
                  <c:v>0.53649999999999998</c:v>
                </c:pt>
                <c:pt idx="9">
                  <c:v>0.4264</c:v>
                </c:pt>
                <c:pt idx="10">
                  <c:v>0.40820000000000001</c:v>
                </c:pt>
                <c:pt idx="11">
                  <c:v>0.31900000000000001</c:v>
                </c:pt>
                <c:pt idx="12">
                  <c:v>0.37180000000000002</c:v>
                </c:pt>
                <c:pt idx="13">
                  <c:v>0.35110000000000002</c:v>
                </c:pt>
                <c:pt idx="14">
                  <c:v>0.35649999999999998</c:v>
                </c:pt>
                <c:pt idx="15">
                  <c:v>0.24660000000000001</c:v>
                </c:pt>
                <c:pt idx="16">
                  <c:v>0.43590000000000001</c:v>
                </c:pt>
                <c:pt idx="17">
                  <c:v>0.3468</c:v>
                </c:pt>
                <c:pt idx="18">
                  <c:v>0.3392</c:v>
                </c:pt>
                <c:pt idx="19">
                  <c:v>0.38400000000000001</c:v>
                </c:pt>
                <c:pt idx="20">
                  <c:v>0.52090000000000003</c:v>
                </c:pt>
                <c:pt idx="21">
                  <c:v>0.50129999999999997</c:v>
                </c:pt>
                <c:pt idx="22">
                  <c:v>0.52449999999999997</c:v>
                </c:pt>
                <c:pt idx="23">
                  <c:v>0.52400000000000002</c:v>
                </c:pt>
                <c:pt idx="24">
                  <c:v>0.45950000000000002</c:v>
                </c:pt>
                <c:pt idx="25">
                  <c:v>0.4793</c:v>
                </c:pt>
                <c:pt idx="26">
                  <c:v>0.38669999999999999</c:v>
                </c:pt>
                <c:pt idx="27">
                  <c:v>0.33750000000000002</c:v>
                </c:pt>
                <c:pt idx="28">
                  <c:v>0.4259</c:v>
                </c:pt>
              </c:numCache>
            </c:numRef>
          </c:xVal>
          <c:yVal>
            <c:numRef>
              <c:f>Sheet1!$B$2:$B$30</c:f>
              <c:numCache>
                <c:formatCode>General</c:formatCode>
                <c:ptCount val="29"/>
                <c:pt idx="0">
                  <c:v>0.33229999999999998</c:v>
                </c:pt>
                <c:pt idx="1">
                  <c:v>0.1164</c:v>
                </c:pt>
                <c:pt idx="2">
                  <c:v>0.37059999999999998</c:v>
                </c:pt>
                <c:pt idx="3">
                  <c:v>0.26329999999999998</c:v>
                </c:pt>
                <c:pt idx="4">
                  <c:v>0.34</c:v>
                </c:pt>
                <c:pt idx="5">
                  <c:v>0.3397</c:v>
                </c:pt>
                <c:pt idx="6">
                  <c:v>0.34379999999999999</c:v>
                </c:pt>
                <c:pt idx="7">
                  <c:v>0.15479999999999999</c:v>
                </c:pt>
                <c:pt idx="8">
                  <c:v>7.4200000000000002E-2</c:v>
                </c:pt>
                <c:pt idx="9">
                  <c:v>0.20549999999999999</c:v>
                </c:pt>
                <c:pt idx="10">
                  <c:v>0.25459999999999999</c:v>
                </c:pt>
                <c:pt idx="11">
                  <c:v>0.39140000000000003</c:v>
                </c:pt>
                <c:pt idx="12">
                  <c:v>0.35070000000000001</c:v>
                </c:pt>
                <c:pt idx="13">
                  <c:v>0.36730000000000002</c:v>
                </c:pt>
                <c:pt idx="14">
                  <c:v>0.35470000000000002</c:v>
                </c:pt>
                <c:pt idx="15">
                  <c:v>0.2873</c:v>
                </c:pt>
                <c:pt idx="16">
                  <c:v>0.24879999999999999</c:v>
                </c:pt>
                <c:pt idx="17">
                  <c:v>0.34050000000000002</c:v>
                </c:pt>
                <c:pt idx="18">
                  <c:v>0.2989</c:v>
                </c:pt>
                <c:pt idx="19">
                  <c:v>0.34599999999999997</c:v>
                </c:pt>
                <c:pt idx="20">
                  <c:v>-3.1600000000000003E-2</c:v>
                </c:pt>
                <c:pt idx="21">
                  <c:v>8.1500000000000003E-2</c:v>
                </c:pt>
                <c:pt idx="22">
                  <c:v>8.9099999999999999E-2</c:v>
                </c:pt>
                <c:pt idx="23">
                  <c:v>-1.0999999999999999E-2</c:v>
                </c:pt>
                <c:pt idx="24">
                  <c:v>7.9399999999999998E-2</c:v>
                </c:pt>
                <c:pt idx="25">
                  <c:v>0.3715</c:v>
                </c:pt>
                <c:pt idx="26">
                  <c:v>0.28749999999999998</c:v>
                </c:pt>
                <c:pt idx="27">
                  <c:v>0.43969999999999998</c:v>
                </c:pt>
                <c:pt idx="28">
                  <c:v>0.23480000000000001</c:v>
                </c:pt>
              </c:numCache>
            </c:numRef>
          </c:yVal>
          <c:bubbleSize>
            <c:numRef>
              <c:f>Sheet1!$C$2:$C$30</c:f>
              <c:numCache>
                <c:formatCode>General</c:formatCode>
                <c:ptCount val="29"/>
                <c:pt idx="0">
                  <c:v>36210.382513661199</c:v>
                </c:pt>
                <c:pt idx="1">
                  <c:v>912.44318181818176</c:v>
                </c:pt>
                <c:pt idx="2">
                  <c:v>35111.053719008269</c:v>
                </c:pt>
                <c:pt idx="3">
                  <c:v>956.90802348336592</c:v>
                </c:pt>
                <c:pt idx="4">
                  <c:v>6379.6974063400576</c:v>
                </c:pt>
                <c:pt idx="5">
                  <c:v>8691.4627994955863</c:v>
                </c:pt>
                <c:pt idx="6">
                  <c:v>20726.226611226612</c:v>
                </c:pt>
                <c:pt idx="7">
                  <c:v>4221.7228464419468</c:v>
                </c:pt>
                <c:pt idx="8">
                  <c:v>1752.3170731707321</c:v>
                </c:pt>
                <c:pt idx="9">
                  <c:v>5431.6768665850677</c:v>
                </c:pt>
                <c:pt idx="10">
                  <c:v>2424.0594059405939</c:v>
                </c:pt>
                <c:pt idx="11">
                  <c:v>3167.5167785234898</c:v>
                </c:pt>
                <c:pt idx="12">
                  <c:v>2165.5472636815921</c:v>
                </c:pt>
                <c:pt idx="13">
                  <c:v>11865.907429963459</c:v>
                </c:pt>
                <c:pt idx="14">
                  <c:v>28428.861878453041</c:v>
                </c:pt>
                <c:pt idx="15">
                  <c:v>4761.8113207547167</c:v>
                </c:pt>
                <c:pt idx="16">
                  <c:v>1840.8</c:v>
                </c:pt>
                <c:pt idx="17">
                  <c:v>12732.233502538071</c:v>
                </c:pt>
                <c:pt idx="18">
                  <c:v>25830.86903304774</c:v>
                </c:pt>
                <c:pt idx="19">
                  <c:v>7665.3875968992243</c:v>
                </c:pt>
                <c:pt idx="20">
                  <c:v>1246.9437652811739</c:v>
                </c:pt>
                <c:pt idx="21">
                  <c:v>2258.3985765124548</c:v>
                </c:pt>
                <c:pt idx="22">
                  <c:v>502.59259259259261</c:v>
                </c:pt>
                <c:pt idx="23">
                  <c:v>1782.271880819367</c:v>
                </c:pt>
                <c:pt idx="24">
                  <c:v>1204.459102902375</c:v>
                </c:pt>
                <c:pt idx="25">
                  <c:v>1513.710407239819</c:v>
                </c:pt>
                <c:pt idx="26">
                  <c:v>1723.954154727794</c:v>
                </c:pt>
                <c:pt idx="27">
                  <c:v>1054.3076923076919</c:v>
                </c:pt>
                <c:pt idx="28">
                  <c:v>1488.977272727273</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Truffe Boite 1X150Gr 1P</c:v>
                  </c:pt>
                  <c:pt idx="4">
                    <c:v>Boursin Classique Fromage Frais A Tartiner Figue Et 3 Noix Boite 1X150Gr 1P</c:v>
                  </c:pt>
                  <c:pt idx="5">
                    <c:v>Boursin Classique Fromage Frais A Tartiner Ciboulette &amp; Echalote Boite 1X150Gr 1P</c:v>
                  </c:pt>
                  <c:pt idx="6">
                    <c:v>Boursin Salade &amp; Aperitif Fromage Frais Des Afh 1X120Gr 1P</c:v>
                  </c:pt>
                  <c:pt idx="7">
                    <c:v>Boursin Salade &amp; Aperitif Fromage Frais Des Figue Noix 1X120Gr 1P</c:v>
                  </c:pt>
                  <c:pt idx="8">
                    <c:v>Boursin Salade &amp; Aperitif Fromage Frais Des Noisette Et 3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Aperitif Roules Fromage Frais Roule Afh Et Jambon Fume Boite 1X100Gr 20P</c:v>
                  </c:pt>
                  <c:pt idx="15">
                    <c:v>Boursin Classique Fromage Frais A Tartiner Afh 1X256Gr 16P</c:v>
                  </c:pt>
                  <c:pt idx="16">
                    <c:v>Boursin Classique Fromage Frais A Tartiner Ciboulette &amp; Echalote 1X160Gr 10P</c:v>
                  </c:pt>
                  <c:pt idx="17">
                    <c:v>Boursin Aperitif Roules Fromage Frais Roule Ciboulette &amp; Echalote Jambon Fume Boite 1X100Gr 20P</c:v>
                  </c:pt>
                  <c:pt idx="18">
                    <c:v>Boursin Classique Fromage Frais A Tartiner Afh Boite 1X250Gr 1P</c:v>
                  </c:pt>
                  <c:pt idx="19">
                    <c:v>Boursin Onctueux Fromage Frais A Tartiner Afh 1X125Gr 1P</c:v>
                  </c:pt>
                  <c:pt idx="20">
                    <c:v>Boursin Aperitif Roules Fromage Frais Roule Jambon Fume &amp; Trio De Noix Boite 1X100Gr 20P</c:v>
                  </c:pt>
                  <c:pt idx="21">
                    <c:v>Boursin Onctueux Fromage Frais A Tartiner Afh 1X210Gr 1P</c:v>
                  </c:pt>
                  <c:pt idx="22">
                    <c:v>Boursin Classique Fromage Frais A Tartiner Citron &amp; Romarin Boite 1X150Gr 1P</c:v>
                  </c:pt>
                  <c:pt idx="23">
                    <c:v>Boursin Classique Fromage Frais A Tartiner 3 Noix Boite 1X150Gr 1P</c:v>
                  </c:pt>
                  <c:pt idx="24">
                    <c:v>Boursin Classique Fromage Frais A Tartiner 3 Noix 1X160Gr 10P</c:v>
                  </c:pt>
                  <c:pt idx="25">
                    <c:v>Boursin Vegetal Specialite Vegetale A Tartiner Afh 1X130Gr 1P</c:v>
                  </c:pt>
                  <c:pt idx="26">
                    <c:v>Bel Boursin Salade &amp; Aperitif Soft Cheese Salade 1 Ct X 120Gr</c:v>
                  </c:pt>
                  <c:pt idx="27">
                    <c:v>Bel Boursin Vegetal Alternative Vegetale Alternative Vegetale 1 Ct X 150Gr</c:v>
                  </c:pt>
                  <c:pt idx="28">
                    <c:v>Bel Boursin Aperitif Roules Aperitif Aperitif 1 Ct X 10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540D3080-6811-4F88-A56C-53A4F9BAC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3CC4245-D266-40D2-8796-506601D53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A024198-BBEA-48B5-A506-47B38ADF7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1871DE2-757D-47A1-BD48-870E75F90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F1E1866-B3B1-4CB9-AC12-888F99497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0137FB09-4203-4C21-85CA-C6B5226C9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6137CBD-703A-42EA-AC8D-E019360AE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89B462D2-87B6-4102-95C7-C72D76D80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6E789CF2-7D33-4AE9-9888-9AB388564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61A6D6C4-7D24-4ECE-BF2C-787BDB2B3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7E2C9D08-574C-4D7B-BB1E-FF0E924B4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8912B312-14BD-4CD5-9CD0-D94D6BCA9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8BD1BE22-E1B6-469E-AA0F-D1305A1B0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6997E8FC-1A59-49CF-B262-0FBE6B268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E99EB89A-0F73-4CFC-84F9-60F3E760D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48CFF43E-61B5-4DD1-BE0D-3454769DB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0188BF57-0AEC-49EA-BE76-479D7A51E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BD7FF130-5087-411B-9927-552BECB7A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C3612A61-C070-42F3-B819-AF025639D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F85B6876-38E9-4AA8-8777-15C78910D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18859937-E54D-4750-861C-2D41A9F93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3D1128E-440F-4262-9FA2-5F36EF361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D997BDB8-CD89-4667-B8B9-6FC95FB2A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A286F974-A7CA-4216-A201-B30C413D0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5DDF4E9B-A165-489E-8EED-450C88DC2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22AA77F2-17F5-4587-8452-2FE16B829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2071CC8C-5447-4CFF-9BA2-D6B0E411D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7D087488-284D-4EC1-9E67-ACF7AC757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EE920FBF-09B9-4569-9115-AC931D01D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68DA0EB0-C2B8-40DE-97A8-321478FEA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B4DBA6A2-20FC-472E-905D-E3C4C602A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BB82AFA7-A1FD-4E1C-82C8-C3CE46FAF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B0C9C0FF-789C-42EF-8959-9E9D777B6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E58773A0-036D-47BE-8DD5-17BACF8F3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8FD4CB2-CD8A-4E09-BB29-F9FB6D5B2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6DF2849D-9942-49DE-B871-EA217A73A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739132CD-6EBA-48EC-94C1-C5B540FCF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9D7601E-FD26-49D0-BAF1-B3E4CE985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7FD9E103-0BF0-4B6B-85CE-F57D36050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6A6E8492-1185-4CCF-A251-31895259E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3BD3078-CCD2-441D-8640-AAD380758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1E099AE5-20C6-4446-B7F4-87F2DF825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5AA46B6-1AB8-41FD-B165-1AB9FB83A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AE44B410-E45E-43E2-A1A4-B5A741611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F02DE66A-6635-49B5-8EC6-8E70CB0570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64D7A6E2-DC6C-44CA-B8A8-3ABEBAD98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06E092DF-4B8E-4BC7-AD9E-4F5B0C1DE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EA69D63-2393-4AA9-BA76-9D06CCB85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26BC375-0367-4DC3-9BCE-75D08DDCEF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185655A5-7740-449C-888A-4BB9E96D6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19025613-B536-4D48-9536-86A691EDE1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F3653C0-8D12-4D8F-9F66-3AF137AC4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5678FF9F-AD45-4BA8-B0BD-3F7D81135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6C2E5BDD-9B9D-43A8-8B0F-5E7B7AEE6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6D69A35B-A144-42DA-93F9-B43FC75B3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FA6191DF-6B21-44F2-9AA5-8DA4E5385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623B139B-90D4-4B01-A5C6-46AB4D5D6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5649999999999998</c:v>
                </c:pt>
                <c:pt idx="1">
                  <c:v>0.3468</c:v>
                </c:pt>
                <c:pt idx="2">
                  <c:v>0.52090000000000003</c:v>
                </c:pt>
                <c:pt idx="3">
                  <c:v>0.4259</c:v>
                </c:pt>
              </c:numCache>
            </c:numRef>
          </c:xVal>
          <c:yVal>
            <c:numRef>
              <c:f>Sheet1!$B$2:$B$5</c:f>
              <c:numCache>
                <c:formatCode>General</c:formatCode>
                <c:ptCount val="4"/>
                <c:pt idx="0">
                  <c:v>0.35470000000000002</c:v>
                </c:pt>
                <c:pt idx="1">
                  <c:v>0.34050000000000002</c:v>
                </c:pt>
                <c:pt idx="2">
                  <c:v>-3.1600000000000003E-2</c:v>
                </c:pt>
                <c:pt idx="3">
                  <c:v>0.23480000000000001</c:v>
                </c:pt>
              </c:numCache>
            </c:numRef>
          </c:yVal>
          <c:bubbleSize>
            <c:numRef>
              <c:f>Sheet1!$C$2:$C$5</c:f>
              <c:numCache>
                <c:formatCode>General</c:formatCode>
                <c:ptCount val="4"/>
                <c:pt idx="0">
                  <c:v>28428.861878453041</c:v>
                </c:pt>
                <c:pt idx="1">
                  <c:v>12732.233502538071</c:v>
                </c:pt>
                <c:pt idx="2">
                  <c:v>1246.9437652811739</c:v>
                </c:pt>
                <c:pt idx="3">
                  <c:v>1488.977272727273</c:v>
                </c:pt>
              </c:numCache>
            </c:numRef>
          </c:bubbleSize>
          <c:bubble3D val="0"/>
          <c:extLst>
            <c:ext xmlns:c15="http://schemas.microsoft.com/office/drawing/2012/chart" uri="{02D57815-91ED-43cb-92C2-25804820EDAC}">
              <c15:datalabelsRange>
                <c15:f>Sheet1!$E$2:$E$58</c15:f>
                <c15:dlblRangeCache>
                  <c:ptCount val="57"/>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el Boursin Aperitif Roules Aperitif Aperitif 1 Ct X 10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8BECF341-CB29-4ADC-BCF7-171D16FA9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7DD878C-C249-4F8C-91BB-43C59FEE5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1314488-B2F0-4BFC-8817-1CD04A007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88C907D-72F2-4FE8-BE8F-73E7A92118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9947DA1-0704-46B9-8768-3A85BE7A8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FFB1EA5-82A5-4F66-AA68-DDDCCA1F7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166ED09-ED64-4B46-8B22-31AD6B805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AAB69B0-102C-4D91-8D2A-E73D5655F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71AD3A2-8F73-4D8C-905D-EED78190E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236AB02-8E4C-4AB7-A1A4-11B2A7C3A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1E796DE-DD78-423C-B712-52B8F863A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ABC098F8-A0ED-44AB-A0CA-8D28F3429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ECE4FC94-6CA4-4193-A0F1-08681996F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89E602C8-759C-4F3D-AF09-FD1E0914B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47709296-9916-42CE-9DC9-8164FB20E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1D0345CA-48D8-4DD9-A45B-B813CA99FA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4ABE279D-54ED-4FA0-AB53-E6796E7CA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7D81BD3-27CF-42F9-A59F-DAB4BF5C6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32A317C6-E705-470B-BC81-57C97A14E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08A859DE-1A94-4688-B186-399A480B7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935A628B-1BFD-4A4D-9CF0-2FEB39F54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18FE939-102A-43BF-BE93-C386A3152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9E9E60C3-CB8A-42ED-9BB5-B8144FCEC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A82776B9-DF15-4347-8C8D-481D21058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F7262CAE-F63D-4D38-86F8-4FECA8340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851C5931-1C13-46A4-AF70-39EC7995D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04DD869C-719A-4165-8DD8-DAAC4632C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CB018D6F-1D9F-442E-B119-6962036C8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D2868C63-180E-48A5-A5A6-F64F6A617E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986D63B4-489C-463C-9056-91D43588B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DF905B87-97C6-417A-879A-21C95EF55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562DF396-9D78-41AD-B519-B0861A8D9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7F957130-6AE8-454A-8EB7-AE4D91A1B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E2CD2980-3EA7-4338-9128-185F27629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6C7B02E6-F76C-4BE8-9960-DBFEEE599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C65ED9F4-5BFE-4F82-92BD-08447E058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C2C5934C-74E4-4092-BD1F-DFD1C3F9D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4F21B401-CE37-46EF-90EF-22E0C26E5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6D810AFC-E15B-47A1-9EF7-379F2F132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45436D12-BE36-41D7-9653-E80117323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41A4059-3BD1-4D94-A1D6-1ABC14D51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EE9571BB-15BC-4E6B-AACA-E5089449A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B45BB81-B4BB-4747-A312-BB78E3E8C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59BEEA92-E54F-4368-84D2-09FCE1442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AE0FE81-3CDB-4001-A0CA-321884094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2467B78-15E1-48F3-94B6-AAC263AA2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86C0FC66-1CD1-4AB6-B476-35ACC9CC6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2DFE228-8B53-49AF-8785-80F8A94D7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41666A56-E198-4711-8C91-29D6299AF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691C5723-CD7B-45F8-8C56-7C6E0ADA29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33A4CE2E-799E-4AEF-A3A5-D34730C40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B6DEEC10-0E26-44C0-B94F-819C2F72B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FDDE0179-CD3B-4174-9680-06C8AB27C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3BFEF1C1-1690-4045-990F-5108CED2C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AA628A4-0F9E-4555-9E77-381D532E3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A30D27E3-0948-4541-85D6-16E8575E3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25BBEA9-5B8D-43A3-824C-4E47017A4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4849999999999998</c:v>
                </c:pt>
                <c:pt idx="1">
                  <c:v>0.32590000000000002</c:v>
                </c:pt>
                <c:pt idx="2">
                  <c:v>0.4577</c:v>
                </c:pt>
                <c:pt idx="3">
                  <c:v>0.49909999999999999</c:v>
                </c:pt>
                <c:pt idx="4">
                  <c:v>0.36840000000000001</c:v>
                </c:pt>
                <c:pt idx="5">
                  <c:v>0.3639</c:v>
                </c:pt>
                <c:pt idx="6">
                  <c:v>0.27950000000000003</c:v>
                </c:pt>
                <c:pt idx="7">
                  <c:v>0.34939999999999999</c:v>
                </c:pt>
                <c:pt idx="8">
                  <c:v>0.47739999999999999</c:v>
                </c:pt>
                <c:pt idx="9">
                  <c:v>0.43070000000000003</c:v>
                </c:pt>
                <c:pt idx="10">
                  <c:v>0.49390000000000001</c:v>
                </c:pt>
              </c:numCache>
            </c:numRef>
          </c:xVal>
          <c:yVal>
            <c:numRef>
              <c:f>Sheet1!$B$2:$B$12</c:f>
              <c:numCache>
                <c:formatCode>General</c:formatCode>
                <c:ptCount val="11"/>
                <c:pt idx="0">
                  <c:v>0.35210000000000002</c:v>
                </c:pt>
                <c:pt idx="1">
                  <c:v>0.42880000000000001</c:v>
                </c:pt>
                <c:pt idx="2">
                  <c:v>0.3745</c:v>
                </c:pt>
                <c:pt idx="3">
                  <c:v>0.26479999999999998</c:v>
                </c:pt>
                <c:pt idx="4">
                  <c:v>0.42459999999999998</c:v>
                </c:pt>
                <c:pt idx="5">
                  <c:v>0.41860000000000003</c:v>
                </c:pt>
                <c:pt idx="6">
                  <c:v>0.21079999999999999</c:v>
                </c:pt>
                <c:pt idx="7">
                  <c:v>0.48120000000000002</c:v>
                </c:pt>
                <c:pt idx="8">
                  <c:v>0.33500000000000002</c:v>
                </c:pt>
                <c:pt idx="9">
                  <c:v>0.23860000000000001</c:v>
                </c:pt>
                <c:pt idx="10">
                  <c:v>0.38869999999999999</c:v>
                </c:pt>
              </c:numCache>
            </c:numRef>
          </c:yVal>
          <c:bubbleSize>
            <c:numRef>
              <c:f>Sheet1!$C$2:$C$12</c:f>
              <c:numCache>
                <c:formatCode>General</c:formatCode>
                <c:ptCount val="11"/>
                <c:pt idx="0">
                  <c:v>43360.813008130077</c:v>
                </c:pt>
                <c:pt idx="1">
                  <c:v>45724.892307692309</c:v>
                </c:pt>
                <c:pt idx="2">
                  <c:v>6139.8327359617679</c:v>
                </c:pt>
                <c:pt idx="3">
                  <c:v>481.37096774193537</c:v>
                </c:pt>
                <c:pt idx="4">
                  <c:v>20585.647298674819</c:v>
                </c:pt>
                <c:pt idx="5">
                  <c:v>27675.493562231761</c:v>
                </c:pt>
                <c:pt idx="6">
                  <c:v>3357.0257037943702</c:v>
                </c:pt>
                <c:pt idx="7">
                  <c:v>25786.988809766019</c:v>
                </c:pt>
                <c:pt idx="8">
                  <c:v>7090.9286898839136</c:v>
                </c:pt>
                <c:pt idx="9">
                  <c:v>3027.5083798882679</c:v>
                </c:pt>
                <c:pt idx="10">
                  <c:v>5504.0773809523807</c:v>
                </c:pt>
              </c:numCache>
            </c:numRef>
          </c:bubbleSize>
          <c:bubble3D val="0"/>
          <c:extLst>
            <c:ext xmlns:c15="http://schemas.microsoft.com/office/drawing/2012/chart" uri="{02D57815-91ED-43cb-92C2-25804820EDAC}">
              <c15:datalabelsRange>
                <c15:f>Sheet1!$E$2:$E$58</c15:f>
                <c15:dlblRangeCache>
                  <c:ptCount val="57"/>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Gouter Fromage Blanc Dips Boite 1X175Gr 5P</c:v>
                  </c:pt>
                  <c:pt idx="5">
                    <c:v>Kiri Gouter Fromage Blanc Dips Boite 1X280Gr 8P</c:v>
                  </c:pt>
                  <c:pt idx="6">
                    <c:v>Kiri Creme Fromage Blanc Frais Carre 1X432Gr 18+6P</c:v>
                  </c:pt>
                  <c:pt idx="7">
                    <c:v>Kiri Creme Fromage Blanc Frais Carre 1X144Gr 8P</c:v>
                  </c:pt>
                  <c:pt idx="8">
                    <c:v>Kiri Bio Fromage Blanc Frais Carre 1X144Gr 8P</c:v>
                  </c:pt>
                  <c:pt idx="9">
                    <c:v>Kiri Delicieusement Fouette Fromage Frais A Tartiner 1X160Gr 10P</c:v>
                  </c:pt>
                  <c:pt idx="10">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99176F8-B902-470D-8287-E396248F4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44A1888-166A-4C17-8126-831024D6F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5D96430-629C-4720-A11C-33DE41F95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B6FC7834-A28A-4BF2-8437-BFD98CF71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5CD591EC-9BDD-4977-A2ED-5E3EEB815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B86B1E7B-6E29-403F-AFB0-3A52D7392F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AC0E4625-0405-424E-97BD-E029DBCF4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5D339F17-DAC4-4B3D-9BED-2D4DE5B74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8.6828000000000003</c:v>
                </c:pt>
                <c:pt idx="1">
                  <c:v>9.4731000000000005</c:v>
                </c:pt>
              </c:numCache>
            </c:numRef>
          </c:xVal>
          <c:yVal>
            <c:numRef>
              <c:f>Sheet1!$B$2:$B$3</c:f>
              <c:numCache>
                <c:formatCode>General</c:formatCode>
                <c:ptCount val="2"/>
                <c:pt idx="0">
                  <c:v>0.27879999999999999</c:v>
                </c:pt>
                <c:pt idx="1">
                  <c:v>0.3407</c:v>
                </c:pt>
              </c:numCache>
            </c:numRef>
          </c:yVal>
          <c:bubbleSize>
            <c:numRef>
              <c:f>Sheet1!$C$2:$C$3</c:f>
              <c:numCache>
                <c:formatCode>General</c:formatCode>
                <c:ptCount val="2"/>
                <c:pt idx="0">
                  <c:v>8511459.3674000036</c:v>
                </c:pt>
                <c:pt idx="1">
                  <c:v>8426441.7535000127</c:v>
                </c:pt>
              </c:numCache>
            </c:numRef>
          </c:bubbleSize>
          <c:bubble3D val="0"/>
          <c:extLst>
            <c:ext xmlns:c15="http://schemas.microsoft.com/office/drawing/2012/chart" uri="{02D57815-91ED-43cb-92C2-25804820EDAC}">
              <c15:datalabelsRange>
                <c15:f>Sheet1!$E$2:$E$29</c15:f>
                <c15:dlblRangeCache>
                  <c:ptCount val="28"/>
                  <c:pt idx="0">
                    <c:v>Intermarche</c:v>
                  </c:pt>
                  <c:pt idx="1">
                    <c:v>Carrefour</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36772"/>
          <c:min val="6.946240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0959465045985196"/>
        <c:crossBetween val="midCat"/>
      </c:valAx>
      <c:valAx>
        <c:axId val="1011451359"/>
        <c:scaling>
          <c:orientation val="minMax"/>
          <c:max val="0.76884000000000008"/>
          <c:min val="-1.695999999999999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075966595451067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17F901D-BCC5-44F0-BCC6-7DDE12D45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D7BDF88A-86B7-475D-A530-C81FF1F18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9BFDA01-20EA-4572-BE50-DBCC0674B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C06F8CE-2377-4D5A-B426-F6C6322DE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8EFFFDB-62A6-4F3E-9F7C-AD62F025B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99C821D1-8781-4A71-BAD0-8E1C64DF7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4895EF24-CD3A-47C9-972A-CB2E72634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4FE0DF5-521E-43A3-AF8E-8AB8B9D70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5023042D-6963-4ABC-8B3A-C707A089E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DFD7B5C8-0E82-4974-99E8-59085ED39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D3938C8-CD03-4688-888B-7C4B76551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2921B9B-C62F-4AB3-B468-4BD99D1EB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0FA5775F-270F-4BA3-87A8-4DBAA52E0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F3AFF848-DF42-44E5-B673-3C2F7DE03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D51DCA53-CA1E-4E56-B6EB-C8DAE6BFF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B6796083-1D9E-4A21-B670-42018DF3C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6F576DDD-727B-462D-BA3C-5C127A660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855FC96-04DA-4AB8-A3BB-421707696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933670BD-C244-43C2-9C06-211315731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13606594-517A-4A6D-B638-8BF5D8AD4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EE7BA521-61E1-432E-A841-CE3E340E1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58D12D98-243D-40FE-87EB-D5EEEC4D1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9E1A2016-FC91-49B3-857D-3EA753E51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A18F830D-595D-4485-8F35-BB331172C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D73F3ECE-9E28-4902-B770-8EF93C742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40B56318-E42E-4F1B-A08C-DF1396FED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0CAB5C39-D0E4-4917-8310-54B65A6C6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CAE6A24D-A1A9-4968-B759-D2C2C70B3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BCA78E01-9C02-4D78-AF1F-E3CE7F0EE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A72DDC3-D986-44F0-83CF-A500E4E2C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EE370EC0-6091-4840-9A53-39DD57740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6F7F3D79-E9B9-4DAB-8DF7-8305FF44E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DEB9C37D-4EBA-4797-AF72-D7EB99F50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1CE84260-7F7F-47EB-8800-E6ED38DC4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9AC29364-D127-492C-B982-7CC423DCD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21878B89-CFC0-4C73-BB07-095C892C9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33D297F0-2093-4C5D-A2C8-7BBF335CF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59B447D4-F03A-4C50-A4B8-678678CA4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628283D6-5354-450D-B460-A5E379733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CEBA77E6-C610-41D1-A0B4-117CF7CD5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1C194104-0514-4B35-9FA4-4D074A21E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30981C3D-8353-4278-A4A0-3DC550886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87B5B897-D1E6-4038-843C-0A0D7765C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8EBA567B-150A-41EB-87A6-DF8A263B50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0FE498AB-5C59-4D2D-BFBA-1AB573232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1FF6B4C-B5DC-4AEB-A650-FF3EEC525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AECE673-8BEA-4C52-825A-D1E17017C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E6B897FF-13ED-4897-B782-930EBC41C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8878C4B1-5AE0-405E-94F6-3DD652C07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9EE4EB55-9911-4E44-A9AC-81E6090F98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A2AE2201-B411-475A-8D34-241D0D6F9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08742EE-8A51-4BD5-848D-7E2D5A31F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630CC282-B1FC-4EAF-9960-5C8F080DB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BE5A4308-A735-4901-BBCF-C83F1BE07F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1D083F72-32FF-4F2D-B235-A51A7D8DC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86AFAAE-610B-4C97-B519-361DBBEB66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750C1DC0-F9A1-45DB-ABB7-60987826B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5130000000000001</c:v>
                </c:pt>
                <c:pt idx="1">
                  <c:v>0.3977</c:v>
                </c:pt>
                <c:pt idx="2">
                  <c:v>0.24640000000000001</c:v>
                </c:pt>
                <c:pt idx="3">
                  <c:v>0.35820000000000002</c:v>
                </c:pt>
                <c:pt idx="4">
                  <c:v>0.32750000000000001</c:v>
                </c:pt>
                <c:pt idx="5">
                  <c:v>0.43259999999999998</c:v>
                </c:pt>
                <c:pt idx="6">
                  <c:v>0.42409999999999998</c:v>
                </c:pt>
                <c:pt idx="7">
                  <c:v>0.49440000000000001</c:v>
                </c:pt>
              </c:numCache>
            </c:numRef>
          </c:xVal>
          <c:yVal>
            <c:numRef>
              <c:f>Sheet1!$B$2:$B$9</c:f>
              <c:numCache>
                <c:formatCode>General</c:formatCode>
                <c:ptCount val="8"/>
                <c:pt idx="0">
                  <c:v>0.26960000000000001</c:v>
                </c:pt>
                <c:pt idx="1">
                  <c:v>0.39810000000000001</c:v>
                </c:pt>
                <c:pt idx="2">
                  <c:v>0.17280000000000001</c:v>
                </c:pt>
                <c:pt idx="3">
                  <c:v>0.31580000000000003</c:v>
                </c:pt>
                <c:pt idx="4">
                  <c:v>0.26429999999999998</c:v>
                </c:pt>
                <c:pt idx="5">
                  <c:v>0.3831</c:v>
                </c:pt>
                <c:pt idx="6">
                  <c:v>0.40150000000000002</c:v>
                </c:pt>
                <c:pt idx="7">
                  <c:v>0.34839999999999999</c:v>
                </c:pt>
              </c:numCache>
            </c:numRef>
          </c:yVal>
          <c:bubbleSize>
            <c:numRef>
              <c:f>Sheet1!$C$2:$C$9</c:f>
              <c:numCache>
                <c:formatCode>General</c:formatCode>
                <c:ptCount val="8"/>
                <c:pt idx="0">
                  <c:v>6740.5301914580259</c:v>
                </c:pt>
                <c:pt idx="1">
                  <c:v>61730.220440881763</c:v>
                </c:pt>
                <c:pt idx="2">
                  <c:v>1325.194805194805</c:v>
                </c:pt>
                <c:pt idx="3">
                  <c:v>52226.907545164722</c:v>
                </c:pt>
                <c:pt idx="4">
                  <c:v>79341.235480464631</c:v>
                </c:pt>
                <c:pt idx="5">
                  <c:v>10304.161712247331</c:v>
                </c:pt>
                <c:pt idx="6">
                  <c:v>14262.722513089009</c:v>
                </c:pt>
                <c:pt idx="7">
                  <c:v>14741.66273584906</c:v>
                </c:pt>
              </c:numCache>
            </c:numRef>
          </c:bubbleSize>
          <c:bubble3D val="0"/>
          <c:extLst>
            <c:ext xmlns:c15="http://schemas.microsoft.com/office/drawing/2012/chart" uri="{02D57815-91ED-43cb-92C2-25804820EDAC}">
              <c15:datalabelsRange>
                <c15:f>Sheet1!$E$2:$E$58</c15:f>
                <c15:dlblRangeCache>
                  <c:ptCount val="57"/>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6A908E8-7F5E-4222-804D-7C7722F12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A21FFBC-A914-4862-9743-311E15AB8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05EEB4C-46BE-4EDB-BC7E-CECF12855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A6017ED1-AC9F-489D-9C3A-88F8B16DB5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597E41D-EFDD-4C15-9639-589D7B7F2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2390FF2-97B0-418D-AB43-41A5F6555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0630C61-310A-4193-B07B-FE94A0144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DAB9660-D594-4993-BCF2-CF69C40E4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C6C883D7-1869-4B3A-953D-A6ED6B76B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C385B55-458F-4DAB-9885-B01B75B2B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4974595-E800-43A0-AD42-E2E296726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2512F5FA-5A49-4D43-9776-C9C75A779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171DD91-28B6-4FE5-BF4E-EA958BB6E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2A0F22E-9461-40E2-80C3-999933C8B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593C218-A9CE-4B93-B510-3B783EA3E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491900D9-9846-4DE4-A346-68AFC493E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3FB8DE4-B78C-4BA9-9213-96BF2016C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75CAC91-2CE9-47B8-BD26-A8E78BC1A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E81CCEE5-6AF1-46CB-91FB-3E154B5CB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0E614394-036B-4C7D-A871-10A5973F8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BB788E15-B35B-4984-A255-E1A2D3501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EC4D66FE-D853-48DF-9262-534E4FE98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A9302DF5-64D8-48AD-A6B7-7BB19122A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3E09F9B-0227-4DD4-AA62-ABBDBE2FA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5CC9413-3B1A-488B-A7EF-E70BB3F1E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F2671D0A-9BC5-4DD3-886C-04F9F801E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0D770060-F550-4581-9D6E-3F56DE9C2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9AF6BA6C-67FC-49AD-82C8-987E29402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C2B59914-4C2C-45AF-B13A-39CCA0DC4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45D8EFE8-E5C0-46DD-85D9-CE5D977C6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5071E82-B04A-45EF-A196-1A37164B8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CA17F997-F661-49FD-96D6-16AAEFFD7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65019572-DBAC-4F41-B701-D63645ABE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37DEEC4D-F4A0-4E07-B5EA-9CB7AFA0D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B8BE1A85-A776-4929-9BA5-F9650EB6F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3A2A7722-58C6-4F96-AF4B-2276958E0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F6969B8F-444F-4A12-99BB-545479FED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5EB92C72-07FB-48AC-ABEC-159361291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A473AD2D-EA9D-42DD-80BE-E3A39E4AC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A02C276D-8848-475B-8DA5-CD600893B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ADE3C0B0-EC3C-42C0-BDAB-BB636AD87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2E4AE5C7-3224-46F2-9A6D-77C6912E4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9B280368-2862-4E4C-B68F-B976445FA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56C3B8AB-4D7A-4062-BCD9-4BAECFDDD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05EC473F-543F-4574-805E-23D7169BF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E1C8E75-E31B-4A99-AD1F-4EFE54BD6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0D3F77CB-3A59-4D1F-BE7E-C6FE68F5C0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6A6A65B-8AB6-4613-A1C7-E5F046005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85A4FB8F-D6B8-4984-8FF7-F512AE807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E181E3C4-888D-40AE-922D-E1EA2EC29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336F4964-124B-4375-BB89-A74A6BC0F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BA79CC77-306A-453C-9522-181B4C909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27CA956A-EF0B-4801-BB7E-BF39AD40F7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5221699C-11B7-41A6-937F-0BF09260B3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3C46808E-C163-4571-8A18-3681D7B3F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9921775-4E86-48F5-A115-AB638B69F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85CA0727-EFA1-49DE-B255-DE7AF3886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9</c:f>
              <c:numCache>
                <c:formatCode>General</c:formatCode>
                <c:ptCount val="18"/>
                <c:pt idx="0">
                  <c:v>0.35720000000000002</c:v>
                </c:pt>
                <c:pt idx="1">
                  <c:v>0.36149999999999999</c:v>
                </c:pt>
                <c:pt idx="2">
                  <c:v>0.53720000000000001</c:v>
                </c:pt>
                <c:pt idx="3">
                  <c:v>0.40649999999999997</c:v>
                </c:pt>
                <c:pt idx="4">
                  <c:v>0.42870000000000003</c:v>
                </c:pt>
                <c:pt idx="5">
                  <c:v>0.43430000000000002</c:v>
                </c:pt>
                <c:pt idx="6">
                  <c:v>0.38550000000000001</c:v>
                </c:pt>
                <c:pt idx="7">
                  <c:v>0.36380000000000001</c:v>
                </c:pt>
                <c:pt idx="8">
                  <c:v>0.42049999999999998</c:v>
                </c:pt>
                <c:pt idx="9">
                  <c:v>0.4869</c:v>
                </c:pt>
                <c:pt idx="10">
                  <c:v>0.40110000000000001</c:v>
                </c:pt>
                <c:pt idx="11">
                  <c:v>0.39090000000000003</c:v>
                </c:pt>
                <c:pt idx="12">
                  <c:v>0.4027</c:v>
                </c:pt>
                <c:pt idx="13">
                  <c:v>0.38950000000000001</c:v>
                </c:pt>
                <c:pt idx="14">
                  <c:v>0.436</c:v>
                </c:pt>
                <c:pt idx="15">
                  <c:v>0.37330000000000002</c:v>
                </c:pt>
                <c:pt idx="16">
                  <c:v>0.4899</c:v>
                </c:pt>
                <c:pt idx="17">
                  <c:v>0.47799999999999998</c:v>
                </c:pt>
              </c:numCache>
            </c:numRef>
          </c:xVal>
          <c:yVal>
            <c:numRef>
              <c:f>Sheet1!$B$2:$B$19</c:f>
              <c:numCache>
                <c:formatCode>General</c:formatCode>
                <c:ptCount val="18"/>
                <c:pt idx="0">
                  <c:v>0.28370000000000001</c:v>
                </c:pt>
                <c:pt idx="1">
                  <c:v>0.3201</c:v>
                </c:pt>
                <c:pt idx="2">
                  <c:v>-2.98E-2</c:v>
                </c:pt>
                <c:pt idx="3">
                  <c:v>0.30370000000000003</c:v>
                </c:pt>
                <c:pt idx="4">
                  <c:v>0.30099999999999999</c:v>
                </c:pt>
                <c:pt idx="5">
                  <c:v>0.31180000000000002</c:v>
                </c:pt>
                <c:pt idx="6">
                  <c:v>0.30990000000000001</c:v>
                </c:pt>
                <c:pt idx="7">
                  <c:v>0.35339999999999999</c:v>
                </c:pt>
                <c:pt idx="8">
                  <c:v>0.27829999999999999</c:v>
                </c:pt>
                <c:pt idx="9">
                  <c:v>0.1988</c:v>
                </c:pt>
                <c:pt idx="10">
                  <c:v>0.36820000000000003</c:v>
                </c:pt>
                <c:pt idx="11">
                  <c:v>0.34860000000000002</c:v>
                </c:pt>
                <c:pt idx="12">
                  <c:v>0.35220000000000001</c:v>
                </c:pt>
                <c:pt idx="13">
                  <c:v>0.1007</c:v>
                </c:pt>
                <c:pt idx="14">
                  <c:v>0.25869999999999999</c:v>
                </c:pt>
                <c:pt idx="15">
                  <c:v>0.22420000000000001</c:v>
                </c:pt>
                <c:pt idx="16">
                  <c:v>0.2535</c:v>
                </c:pt>
                <c:pt idx="17">
                  <c:v>0.26779999999999998</c:v>
                </c:pt>
              </c:numCache>
            </c:numRef>
          </c:yVal>
          <c:bubbleSize>
            <c:numRef>
              <c:f>Sheet1!$C$2:$C$19</c:f>
              <c:numCache>
                <c:formatCode>General</c:formatCode>
                <c:ptCount val="18"/>
                <c:pt idx="0">
                  <c:v>27527.410805300711</c:v>
                </c:pt>
                <c:pt idx="1">
                  <c:v>24558.51703406814</c:v>
                </c:pt>
                <c:pt idx="2">
                  <c:v>648.25327510917032</c:v>
                </c:pt>
                <c:pt idx="3">
                  <c:v>10309.23469387755</c:v>
                </c:pt>
                <c:pt idx="4">
                  <c:v>8635.1798561151081</c:v>
                </c:pt>
                <c:pt idx="5">
                  <c:v>11293.564049586779</c:v>
                </c:pt>
                <c:pt idx="6">
                  <c:v>2199.2426035502958</c:v>
                </c:pt>
                <c:pt idx="7">
                  <c:v>1098.2067247820671</c:v>
                </c:pt>
                <c:pt idx="8">
                  <c:v>3335.8687727825031</c:v>
                </c:pt>
                <c:pt idx="9">
                  <c:v>1614.075757575758</c:v>
                </c:pt>
                <c:pt idx="10">
                  <c:v>2730.8923076923079</c:v>
                </c:pt>
                <c:pt idx="11">
                  <c:v>7229.1382978723404</c:v>
                </c:pt>
                <c:pt idx="12">
                  <c:v>11438.093716719921</c:v>
                </c:pt>
                <c:pt idx="13">
                  <c:v>8505.5930232558148</c:v>
                </c:pt>
                <c:pt idx="14">
                  <c:v>5809.3564356435636</c:v>
                </c:pt>
                <c:pt idx="15">
                  <c:v>27838.234693877552</c:v>
                </c:pt>
                <c:pt idx="16">
                  <c:v>12471.15303983229</c:v>
                </c:pt>
                <c:pt idx="17">
                  <c:v>1111.304347826087</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Boursin Classique Fromage Frais A Tartiner Afh Boite 1X150Gr 1P</c:v>
                  </c:pt>
                  <c:pt idx="2">
                    <c:v>Boursin Classique Fromage Frais A Tartiner Truffe Boite 1X150Gr 1P</c:v>
                  </c:pt>
                  <c:pt idx="3">
                    <c:v>Boursin Classique Fromage Frais A Tartiner Figue Et 3 Noix Boite 1X150Gr 1P</c:v>
                  </c:pt>
                  <c:pt idx="4">
                    <c:v>Boursin Classique Fromage Frais A Tartiner Ciboulette &amp; Echalote Boite 1X150Gr 1P</c:v>
                  </c:pt>
                  <c:pt idx="5">
                    <c:v>Boursin Salade &amp; Aperitif Fromage Frais Des Afh 1X120Gr 1P</c:v>
                  </c:pt>
                  <c:pt idx="6">
                    <c:v>Boursin Salade &amp; Aperitif Fromage Frais Des Figue Noix 1X120Gr 1P</c:v>
                  </c:pt>
                  <c:pt idx="7">
                    <c:v>Boursin Salade &amp; Aperitif Fromage Frais Des Noisette Et 3 Noix 1X120Gr 1P</c:v>
                  </c:pt>
                  <c:pt idx="8">
                    <c:v>Boursin Salade &amp; Aperitif Fromage Frais Des Ciboulette Echalote 1X120Gr 1P</c:v>
                  </c:pt>
                  <c:pt idx="9">
                    <c:v>Boursin Salade &amp; Aperitif Fromage Frais Des Citron Romarin 1X120Gr 1P</c:v>
                  </c:pt>
                  <c:pt idx="10">
                    <c:v>Boursin Classique Fromage Frais A Tartiner Afh Boite 1X80Gr 1P</c:v>
                  </c:pt>
                  <c:pt idx="11">
                    <c:v>Boursin Classique Fromage Frais A Tartiner Poivre Boite 1X150Gr 1P</c:v>
                  </c:pt>
                  <c:pt idx="12">
                    <c:v>Boursin Classique Fromage Frais A Tartiner Afh Boite 1X96Gr 6P</c:v>
                  </c:pt>
                  <c:pt idx="13">
                    <c:v>Boursin Classique Fromage Frais A Tartiner Afh 1X256Gr 16P</c:v>
                  </c:pt>
                  <c:pt idx="14">
                    <c:v>Boursin Classique Fromage Frais A Tartiner Ciboulette &amp; Echalote 1X160Gr 10P</c:v>
                  </c:pt>
                  <c:pt idx="15">
                    <c:v>Boursin Classique Fromage Frais A Tartiner Afh Boite 1X250Gr 1P</c:v>
                  </c:pt>
                  <c:pt idx="16">
                    <c:v>Boursin Onctueux Fromage Frais A Tartiner Afh 1X125Gr 1P</c:v>
                  </c:pt>
                  <c:pt idx="17">
                    <c:v>Bel Boursin Salade &amp; Aperitif Soft Cheese Salade 1 Ct X 1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72E078B-3E5E-441D-908B-D63A17308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891DADF-4731-410D-9352-37539815C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9C30378-8931-4826-BD27-B46012B8DE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A904B6C-E6FE-4CF1-9119-1CA246EA3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196D43C-05E1-4686-BCF2-3E2075B6F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D3B4E7E-844C-40D4-BF0F-F1FBD98EDE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CA2398F-B65B-4B3D-99F9-097B429B2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B9ECCC5-AAE0-4774-AD46-7A8B0CEFA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4584816-F5AA-495B-B824-31D3B1817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AA2A60C-74A5-4B05-BD66-BD6DEFCE4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30BC3216-9D91-4C3D-822E-AD3E5B341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F32B1C8-695C-4AB8-A526-BF1A0BB41C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68111607-502C-4357-8836-432FD9889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2FC728E5-76F9-4B18-A98A-07CD2FF51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969C6043-045F-4778-8FD8-AB7B63C4D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79C7497D-A3CE-439C-8468-F2C2110C6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80468DF5-C6A6-4947-AC1E-C51F6AA365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CF37F8F5-5E52-4395-A402-EC1A1480E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DCCB6C41-4C62-4F31-BC0C-CC04B7AA8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1C0FC4A4-D8FC-4B62-8067-9D671C1AD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AE75409C-1F60-42AE-99AA-BFCC3FC5C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38143EC6-BF9E-4115-BF4F-458558BF0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C0816CB9-DFF6-409A-AE6C-EF5DB54C0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4C63355F-2DE8-4862-80CA-A33C17370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E52364BD-615F-4735-B5B3-53215869E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EFFEBAC9-3B7B-493F-8746-7A1FB6352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7419F8F5-0345-4372-AD46-C05268FF2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53D272E0-FA0F-4E66-9EB8-E3B89E6F0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2823292B-E705-491B-B497-1F199C407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C6DFA6E6-DFD2-4140-B116-F60DD5EA1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C044906D-B02F-4236-8E46-B852C7CB3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26E917FA-B9D8-4097-8203-597849D21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31AFE26D-F327-4B68-9304-CF6B7EA0C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25C50B9-61C7-4D91-989F-8D47C9ECF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99CD1115-0822-484C-97E3-4BA245312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8446CC61-48BB-4187-9D60-7E2698A37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D62CA49C-3C1E-4636-97B9-657CF7C1AF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2A84F005-AD6E-4835-B481-100D654EB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D7D8D9CE-D7C5-4BC7-99C0-9251627139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6BCE051-38AC-4441-BFB5-1A09038DF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EE691D1E-CAEB-4083-B85D-E2D3ED742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69A32D48-2A50-45DE-91A4-C27D56BED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5214D0A7-9794-4B37-AFE1-09D3BE695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AFFC9FE5-C70E-486B-8FED-59CDDEB402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1297D371-0FB7-4208-BACC-97C08D13F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1E0DA51-2FAC-47E0-A124-1AF32A889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9E4E159-FDA0-459C-85C2-57CCA4489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FABD58DF-9D3F-4BCC-B270-86D2F34CC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6C477D3A-FA0D-4E1B-A316-2FED1BA75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3D28B31E-10EF-4FE1-8750-10AD5DB4E6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93F46CB-2292-479F-B8A5-B45B235E4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AEE5CA85-7CC4-4E08-8F7F-AC6A638C1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C7208D08-964A-4DE9-AFB2-FC4FCD1CF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F689DBAC-8079-4E3F-8FE7-C10660726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1EA5E81C-D1A9-40F7-AFF1-33DFAA16C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1441836D-04D6-4700-ABBC-1DDCF542A8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81B0E442-92AA-493A-B4EF-9ABE49A42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1</c:f>
              <c:numCache>
                <c:formatCode>General</c:formatCode>
                <c:ptCount val="10"/>
                <c:pt idx="0">
                  <c:v>0.37940000000000002</c:v>
                </c:pt>
                <c:pt idx="1">
                  <c:v>0.3014</c:v>
                </c:pt>
                <c:pt idx="2">
                  <c:v>0.42080000000000001</c:v>
                </c:pt>
                <c:pt idx="3">
                  <c:v>0.40210000000000001</c:v>
                </c:pt>
                <c:pt idx="4">
                  <c:v>0.39889999999999998</c:v>
                </c:pt>
                <c:pt idx="5">
                  <c:v>0.33850000000000002</c:v>
                </c:pt>
                <c:pt idx="6">
                  <c:v>0.2631</c:v>
                </c:pt>
                <c:pt idx="7">
                  <c:v>0.35049999999999998</c:v>
                </c:pt>
                <c:pt idx="8">
                  <c:v>0.35210000000000002</c:v>
                </c:pt>
                <c:pt idx="9">
                  <c:v>0.38840000000000002</c:v>
                </c:pt>
              </c:numCache>
            </c:numRef>
          </c:xVal>
          <c:yVal>
            <c:numRef>
              <c:f>Sheet1!$B$2:$B$11</c:f>
              <c:numCache>
                <c:formatCode>General</c:formatCode>
                <c:ptCount val="10"/>
                <c:pt idx="0">
                  <c:v>0.1764</c:v>
                </c:pt>
                <c:pt idx="1">
                  <c:v>0.45519999999999999</c:v>
                </c:pt>
                <c:pt idx="2">
                  <c:v>0.40160000000000001</c:v>
                </c:pt>
                <c:pt idx="3">
                  <c:v>0.3861</c:v>
                </c:pt>
                <c:pt idx="4">
                  <c:v>0.37559999999999999</c:v>
                </c:pt>
                <c:pt idx="5">
                  <c:v>0.43509999999999999</c:v>
                </c:pt>
                <c:pt idx="6">
                  <c:v>0.21809999999999999</c:v>
                </c:pt>
                <c:pt idx="7">
                  <c:v>0.499</c:v>
                </c:pt>
                <c:pt idx="8">
                  <c:v>0.39939999999999998</c:v>
                </c:pt>
                <c:pt idx="9">
                  <c:v>0.32579999999999998</c:v>
                </c:pt>
              </c:numCache>
            </c:numRef>
          </c:yVal>
          <c:bubbleSize>
            <c:numRef>
              <c:f>Sheet1!$C$2:$C$11</c:f>
              <c:numCache>
                <c:formatCode>General</c:formatCode>
                <c:ptCount val="10"/>
                <c:pt idx="0">
                  <c:v>81394.755784061694</c:v>
                </c:pt>
                <c:pt idx="1">
                  <c:v>42862.613908872903</c:v>
                </c:pt>
                <c:pt idx="2">
                  <c:v>9290.7881136950891</c:v>
                </c:pt>
                <c:pt idx="3">
                  <c:v>7421.5241057542771</c:v>
                </c:pt>
                <c:pt idx="4">
                  <c:v>34465.816649104323</c:v>
                </c:pt>
                <c:pt idx="5">
                  <c:v>25172.049180327871</c:v>
                </c:pt>
                <c:pt idx="6">
                  <c:v>16379.70670391062</c:v>
                </c:pt>
                <c:pt idx="7">
                  <c:v>47708.959595959597</c:v>
                </c:pt>
                <c:pt idx="8">
                  <c:v>5967.6095617529882</c:v>
                </c:pt>
                <c:pt idx="9">
                  <c:v>5613.8606676342533</c:v>
                </c:pt>
              </c:numCache>
            </c:numRef>
          </c:bubbleSize>
          <c:bubble3D val="0"/>
          <c:extLst>
            <c:ext xmlns:c15="http://schemas.microsoft.com/office/drawing/2012/chart" uri="{02D57815-91ED-43cb-92C2-25804820EDAC}">
              <c15:datalabelsRange>
                <c15:f>Sheet1!$E$2:$E$58</c15:f>
                <c15:dlblRangeCache>
                  <c:ptCount val="57"/>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Gouter Fromage Blanc Dips Boite 1X175Gr 5P</c:v>
                  </c:pt>
                  <c:pt idx="5">
                    <c:v>Kiri Gouter Fromage Blanc Dips Boite 1X280Gr 8P</c:v>
                  </c:pt>
                  <c:pt idx="6">
                    <c:v>Kiri Creme Fromage Blanc Frais Carre 1X432Gr 18+6P</c:v>
                  </c:pt>
                  <c:pt idx="7">
                    <c:v>Kiri Creme Fromage Blanc Frais Carre 1X144Gr 8P</c:v>
                  </c:pt>
                  <c:pt idx="8">
                    <c:v>Kiri Bio Fromage Blanc Frais Carre 1X144Gr 8P</c:v>
                  </c:pt>
                  <c:pt idx="9">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906ABF0-A483-4C21-AE99-1D072307B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816BB78-619B-4612-AAE2-82FB908123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2455B15-8151-4B02-BEDD-FD6F2535C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B989B43-C0C4-4DFE-8DA3-63085C325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4FC7623-FA42-439D-B86E-48879670D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4491355-622E-46EE-B31F-723210A4A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9E1CDE71-E90A-4F00-BBD7-92F0C157F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6EB364B-3DD4-4CEF-8918-1B57A16EC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0A8D778D-3DEA-4F50-A7A2-86381CDAE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56E731D-D851-48D5-A295-46655F2FC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7963FB01-3F66-4782-9FFE-2802444AB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700B9FD-4B1E-4FBE-8D0C-5A73CE5A1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24CEE0D-0029-4988-A88E-41F621ABB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5684A2EB-A804-4273-86CD-5DFD7368F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4EB8477A-E904-4EFE-A4F1-60DF118B4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9199B693-A269-42AB-9C62-1FE58E2C8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157BDDCA-3CF3-4030-AA92-83C0E6842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FCA443A0-63CF-43FF-9B83-064AF3A11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95C0C46B-FEE7-41F2-BA9F-372157F47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CEF30A40-F6E1-47AA-A606-61BDD0480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269CF464-A620-46C1-9E2E-1E11BEB61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69453910-9E19-44FB-A1AC-5C0FA41A9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8369599A-859B-41D3-8224-4B8F6EB79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FAD7E990-EB85-4C46-8C1A-430EF1EAB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594EEA76-0836-448F-8D8C-91DC78FF6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4B22E0F9-FD49-4F7B-A614-0A9472008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191CDE2-11ED-48DD-BE47-7DD20863E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4BCF2DEF-96F2-4C71-87D5-F5DB5F8DD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8D6F3F4A-89A3-48C0-8728-3EF615B42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E655FFFF-EEC3-43E2-A25D-AA952CC11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806F948-2194-4CE7-868C-788020374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2EEAF9C-ECF8-4039-AFE8-49F5EFCDC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5BAE020B-7C63-4502-B63A-801356921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44881186-596D-4C4F-83FF-8E01BDCBC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EEF7E1F5-5525-4E69-981F-2E5ABA9EC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818B288E-C269-42A1-9E9E-196289557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FD3E3D36-81FD-4862-815E-EFFB9B74C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A74C0024-3ADC-4D0E-82FB-A56509E94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4B71CC2-4A83-4BFB-AF52-C6AF8F7CF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647A2A4-E614-4763-B04B-8BEE810AC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7829361-0C3D-48C3-A624-0190CA236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3ABABE48-939A-4107-A511-BBCB71E83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7A0EAF2-FCEC-4D18-80F8-E96BF0756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1676D9BC-5679-458A-AB94-C682A1A09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103B96B9-B03F-4E83-A10D-F38CF5C60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C5FEC0F-DAA6-444F-BADD-B6D8D489D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4D8B002C-54DD-45B5-97AD-F56AB5850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F8FCD991-09C5-41D9-B504-0A4CCC833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6B17732C-C498-43F8-BA30-0FCBC5DDE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A0DB33EA-C095-4182-AF2C-2C4F659FD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63FD7273-B185-4063-AAFD-2D4ECF952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BFEC23D5-D324-4907-878B-9D0D9CDB1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D749D37A-E78C-4C34-9BC7-C19CDFF72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82113CD7-FFF5-4BA2-8576-9D762AF86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D856AFA-201A-4667-A52A-71AD897A3F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CCA7A066-C0F0-4BDC-A8F4-38282BF76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14EF08BD-069A-409A-B194-602954E35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43109999999999998</c:v>
                </c:pt>
                <c:pt idx="1">
                  <c:v>0.41099999999999998</c:v>
                </c:pt>
                <c:pt idx="2">
                  <c:v>0.40870000000000001</c:v>
                </c:pt>
                <c:pt idx="3">
                  <c:v>0.25490000000000002</c:v>
                </c:pt>
                <c:pt idx="4">
                  <c:v>0.3306</c:v>
                </c:pt>
                <c:pt idx="5">
                  <c:v>0.3155</c:v>
                </c:pt>
                <c:pt idx="6">
                  <c:v>0.37190000000000001</c:v>
                </c:pt>
                <c:pt idx="7">
                  <c:v>0.41449999999999998</c:v>
                </c:pt>
                <c:pt idx="8">
                  <c:v>0.56910000000000005</c:v>
                </c:pt>
                <c:pt idx="9">
                  <c:v>0.48430000000000001</c:v>
                </c:pt>
                <c:pt idx="10">
                  <c:v>0.36270000000000002</c:v>
                </c:pt>
                <c:pt idx="11">
                  <c:v>0.33939999999999998</c:v>
                </c:pt>
              </c:numCache>
            </c:numRef>
          </c:xVal>
          <c:yVal>
            <c:numRef>
              <c:f>Sheet1!$B$2:$B$13</c:f>
              <c:numCache>
                <c:formatCode>General</c:formatCode>
                <c:ptCount val="12"/>
                <c:pt idx="0">
                  <c:v>0.39789999999999998</c:v>
                </c:pt>
                <c:pt idx="1">
                  <c:v>0.44550000000000001</c:v>
                </c:pt>
                <c:pt idx="2">
                  <c:v>0.438</c:v>
                </c:pt>
                <c:pt idx="3">
                  <c:v>0.1852</c:v>
                </c:pt>
                <c:pt idx="4">
                  <c:v>0.30149999999999999</c:v>
                </c:pt>
                <c:pt idx="5">
                  <c:v>0.14399999999999999</c:v>
                </c:pt>
                <c:pt idx="6">
                  <c:v>0.4461</c:v>
                </c:pt>
                <c:pt idx="7">
                  <c:v>0.49409999999999998</c:v>
                </c:pt>
                <c:pt idx="8">
                  <c:v>0.70169999999999999</c:v>
                </c:pt>
                <c:pt idx="9">
                  <c:v>0.12820000000000001</c:v>
                </c:pt>
                <c:pt idx="10">
                  <c:v>0.43030000000000002</c:v>
                </c:pt>
                <c:pt idx="11">
                  <c:v>0.46029999999999999</c:v>
                </c:pt>
              </c:numCache>
            </c:numRef>
          </c:yVal>
          <c:bubbleSize>
            <c:numRef>
              <c:f>Sheet1!$C$2:$C$13</c:f>
              <c:numCache>
                <c:formatCode>General</c:formatCode>
                <c:ptCount val="12"/>
                <c:pt idx="0">
                  <c:v>8120.5405405405409</c:v>
                </c:pt>
                <c:pt idx="1">
                  <c:v>64775.474006116208</c:v>
                </c:pt>
                <c:pt idx="2">
                  <c:v>0</c:v>
                </c:pt>
                <c:pt idx="3">
                  <c:v>19364.593103448271</c:v>
                </c:pt>
                <c:pt idx="4">
                  <c:v>72823.240534521159</c:v>
                </c:pt>
                <c:pt idx="5">
                  <c:v>143117.4607013301</c:v>
                </c:pt>
                <c:pt idx="6">
                  <c:v>7373.9595959595963</c:v>
                </c:pt>
                <c:pt idx="7">
                  <c:v>22077.01729106628</c:v>
                </c:pt>
                <c:pt idx="8">
                  <c:v>29388.75</c:v>
                </c:pt>
                <c:pt idx="9">
                  <c:v>3280.8506224066391</c:v>
                </c:pt>
                <c:pt idx="10">
                  <c:v>19583.832599118941</c:v>
                </c:pt>
                <c:pt idx="11">
                  <c:v>10205.71428571429</c:v>
                </c:pt>
              </c:numCache>
            </c:numRef>
          </c:bubbleSize>
          <c:bubble3D val="0"/>
          <c:extLst>
            <c:ext xmlns:c15="http://schemas.microsoft.com/office/drawing/2012/chart" uri="{02D57815-91ED-43cb-92C2-25804820EDAC}">
              <c15:datalabelsRange>
                <c15:f>Sheet1!$E$2:$E$58</c15:f>
                <c15:dlblRangeCache>
                  <c:ptCount val="57"/>
                  <c:pt idx="0">
                    <c:v>La Vache Qui Rit Aro Fromage Fondu Boite Ronde Jambon 1X133Gr 8P</c:v>
                  </c:pt>
                  <c:pt idx="1">
                    <c:v>La Vache Qui Rit Nature Fromage Fondu Boite Ronde 1X192Gr 12P</c:v>
                  </c:pt>
                  <c:pt idx="2">
                    <c:v>La Vache Qui Rit Nature Fromage Fondu Boite Ronde 1X256Gr 16P</c:v>
                  </c:pt>
                  <c:pt idx="3">
                    <c:v>La Vache Qui Rit Nature Fromage Fondu Boite Ronde 1X512Gr 24+8P</c:v>
                  </c:pt>
                  <c:pt idx="4">
                    <c:v>La Vache Qui Rit Nature Fromage Fondu Boite Ronde 1X384Gr 24P</c:v>
                  </c:pt>
                  <c:pt idx="5">
                    <c:v>La Vache Qui Rit Nature Fromage Fondu Boite Ronde 1X512Gr 32P</c:v>
                  </c:pt>
                  <c:pt idx="6">
                    <c:v>La Vache Qui Rit Allegee Fromage Fondu Boite Ronde Allege 1X267Gr 16P</c:v>
                  </c:pt>
                  <c:pt idx="7">
                    <c:v>La Vache Qui Rit Nature Fromage Fondu Boite Ronde 1X128Gr 8P</c:v>
                  </c:pt>
                  <c:pt idx="8">
                    <c:v>La Vache Qui Rit Pik Et Croq' Fromage Fondu Dips Boite 1X35Gr 1P</c:v>
                  </c:pt>
                  <c:pt idx="9">
                    <c:v>La Vache Qui Rit Bio Fromage Fondu Boite Ronde 1X128Gr 8P</c:v>
                  </c:pt>
                  <c:pt idx="10">
                    <c:v>La Vache Qui Rit Pik Et Croq' Fromage Fondu Dips Boite 1X175Gr 5P</c:v>
                  </c:pt>
                  <c:pt idx="11">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AC21E02-4AD6-45BF-80AC-CB6784BEC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8E76019-D0E4-4E8B-AB4C-14F912CF3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D674C9-7AD0-407A-9598-808FECF17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7EC4086-E527-4861-B358-4115A5A1F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AD362EDA-CA07-4AFF-B098-4F107F237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EC187A7-1358-4B38-9962-66F4F2F01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7136344-B334-48D5-88C7-A57B14EEC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8E92CF8-71F6-475A-8F1F-33A6CDA22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DA10B90-3EBF-4288-9A2F-0480B7DE3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B3C7EE04-8A00-4DEF-84E7-5CCEC19C5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247D9F0-867A-4A4C-BB34-F2378F32F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8A146F2-E334-47CE-B205-02E58ADA1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899649F-80EF-4D49-B801-ED2AF8B9C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7323EE64-39C3-4593-A210-704164FE6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692A1A46-BBAF-46C3-BF02-11715D5EB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127514B-3FE3-4E06-B161-B4C2D8BB1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6485B6DB-5470-496B-AF15-8AE277B49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E2BB2980-8769-46E4-82D5-F317DC03F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DB0637A3-FF30-40A2-B03A-D23DC78F1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8B173E09-3429-4606-BCA6-4D2B8C898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E772418D-3E0A-46F3-8094-09C6402F9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D502AFA3-73BC-46FA-AEDB-11CB6BAF4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6D557E1-B696-4A56-9DBC-BBF90B422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2F63602-E4BF-4C29-8842-B88499A2F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2A051964-8615-4775-8C7D-0C6FB2966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0BAE8843-6AC9-491A-9227-40A800992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F31BD481-4D92-48D6-9E81-0F66C938B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3D28085-8EFC-4754-8C2B-937F51A4D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F16B0A35-3726-4B2B-930C-A99D4C46D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1FE32BB-96CC-4FB5-AF90-4FF2F8370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AB846AA-840B-41F1-B561-4D24018E4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0FA4E6DE-1A97-4067-BE8F-CEB55BAF7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DBF8C693-D823-42D5-BE9A-8B87A507C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2A672DDB-4ADB-44D8-A26E-C8FBC2A7E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A5CA2E02-A299-4320-8B09-AB1B28708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659F8A9-1B93-423A-A65D-40FBC897A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68300A3A-C416-44C5-85E4-BD996B919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A1A8A570-4F01-4BF2-BA57-67CD76EF0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77E6092F-FCCE-43FE-955B-6839736EC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36B16E55-A6E4-48CB-A0CA-774EF53EE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3FCD578A-38FE-49E7-AE37-73158757A4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4252DFC-ADD6-4A57-BEC5-18A04B864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6D6FF873-AD80-4C18-8A60-852460F06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82412892-9F44-4456-AECA-46DF6728D9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2560DF4D-579C-4492-8F6E-B0EDA53B9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04A99433-DFD5-4FD3-9A79-F78B91A2E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EE02BA7F-BD78-482E-9D01-FA3BBEB66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D76FEAC-D895-402F-847E-D7D7BD2F4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A9246AAF-0FD7-40CD-8E7B-D7E61DD4D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04864D56-36F2-46D6-B086-D2A83BB19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CBF45C48-9190-4126-905E-EF5AC083A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CD3014B7-8A38-4A75-B494-A7564F11B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F0E1ECD5-6902-45B1-91FB-7A8E582EA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B464E0FF-4522-4E0E-AB6E-F08C359A0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42CA8B3B-BD1E-4971-B5C0-4A3BC715B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F3B4B3A9-0C12-4EE0-9C30-F84CA4701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FB3FBFAD-1ACD-4654-847B-F03000AF5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4</c:f>
              <c:numCache>
                <c:formatCode>General</c:formatCode>
                <c:ptCount val="23"/>
                <c:pt idx="0">
                  <c:v>0.3483</c:v>
                </c:pt>
                <c:pt idx="1">
                  <c:v>0.307</c:v>
                </c:pt>
                <c:pt idx="2">
                  <c:v>0.3422</c:v>
                </c:pt>
                <c:pt idx="3">
                  <c:v>0.3775</c:v>
                </c:pt>
                <c:pt idx="4">
                  <c:v>0.35499999999999998</c:v>
                </c:pt>
                <c:pt idx="5">
                  <c:v>0.34489999999999998</c:v>
                </c:pt>
                <c:pt idx="6">
                  <c:v>0.3926</c:v>
                </c:pt>
                <c:pt idx="7">
                  <c:v>0.44700000000000001</c:v>
                </c:pt>
                <c:pt idx="8">
                  <c:v>0.53649999999999998</c:v>
                </c:pt>
                <c:pt idx="9">
                  <c:v>0.4264</c:v>
                </c:pt>
                <c:pt idx="10">
                  <c:v>0.40820000000000001</c:v>
                </c:pt>
                <c:pt idx="11">
                  <c:v>0.31900000000000001</c:v>
                </c:pt>
                <c:pt idx="12">
                  <c:v>0.37180000000000002</c:v>
                </c:pt>
                <c:pt idx="13">
                  <c:v>0.35110000000000002</c:v>
                </c:pt>
                <c:pt idx="14">
                  <c:v>0.24660000000000001</c:v>
                </c:pt>
                <c:pt idx="15">
                  <c:v>0.43590000000000001</c:v>
                </c:pt>
                <c:pt idx="16">
                  <c:v>0.3392</c:v>
                </c:pt>
                <c:pt idx="17">
                  <c:v>0.38400000000000001</c:v>
                </c:pt>
                <c:pt idx="18">
                  <c:v>0.50129999999999997</c:v>
                </c:pt>
                <c:pt idx="19">
                  <c:v>0.52449999999999997</c:v>
                </c:pt>
                <c:pt idx="20">
                  <c:v>0.52400000000000002</c:v>
                </c:pt>
                <c:pt idx="21">
                  <c:v>0.45950000000000002</c:v>
                </c:pt>
                <c:pt idx="22">
                  <c:v>0.38669999999999999</c:v>
                </c:pt>
              </c:numCache>
            </c:numRef>
          </c:xVal>
          <c:yVal>
            <c:numRef>
              <c:f>Sheet1!$B$2:$B$24</c:f>
              <c:numCache>
                <c:formatCode>General</c:formatCode>
                <c:ptCount val="23"/>
                <c:pt idx="0">
                  <c:v>0.33229999999999998</c:v>
                </c:pt>
                <c:pt idx="1">
                  <c:v>0.1164</c:v>
                </c:pt>
                <c:pt idx="2">
                  <c:v>0.37059999999999998</c:v>
                </c:pt>
                <c:pt idx="3">
                  <c:v>0.26329999999999998</c:v>
                </c:pt>
                <c:pt idx="4">
                  <c:v>0.34</c:v>
                </c:pt>
                <c:pt idx="5">
                  <c:v>0.3397</c:v>
                </c:pt>
                <c:pt idx="6">
                  <c:v>0.34379999999999999</c:v>
                </c:pt>
                <c:pt idx="7">
                  <c:v>0.15479999999999999</c:v>
                </c:pt>
                <c:pt idx="8">
                  <c:v>7.4200000000000002E-2</c:v>
                </c:pt>
                <c:pt idx="9">
                  <c:v>0.20549999999999999</c:v>
                </c:pt>
                <c:pt idx="10">
                  <c:v>0.25459999999999999</c:v>
                </c:pt>
                <c:pt idx="11">
                  <c:v>0.39140000000000003</c:v>
                </c:pt>
                <c:pt idx="12">
                  <c:v>0.35070000000000001</c:v>
                </c:pt>
                <c:pt idx="13">
                  <c:v>0.36730000000000002</c:v>
                </c:pt>
                <c:pt idx="14">
                  <c:v>0.2873</c:v>
                </c:pt>
                <c:pt idx="15">
                  <c:v>0.24879999999999999</c:v>
                </c:pt>
                <c:pt idx="16">
                  <c:v>0.2989</c:v>
                </c:pt>
                <c:pt idx="17">
                  <c:v>0.34599999999999997</c:v>
                </c:pt>
                <c:pt idx="18">
                  <c:v>8.1500000000000003E-2</c:v>
                </c:pt>
                <c:pt idx="19">
                  <c:v>8.9099999999999999E-2</c:v>
                </c:pt>
                <c:pt idx="20">
                  <c:v>-1.0999999999999999E-2</c:v>
                </c:pt>
                <c:pt idx="21">
                  <c:v>7.9399999999999998E-2</c:v>
                </c:pt>
                <c:pt idx="22">
                  <c:v>0.28749999999999998</c:v>
                </c:pt>
              </c:numCache>
            </c:numRef>
          </c:yVal>
          <c:bubbleSize>
            <c:numRef>
              <c:f>Sheet1!$C$2:$C$24</c:f>
              <c:numCache>
                <c:formatCode>General</c:formatCode>
                <c:ptCount val="23"/>
                <c:pt idx="0">
                  <c:v>36210.382513661199</c:v>
                </c:pt>
                <c:pt idx="1">
                  <c:v>912.44318181818176</c:v>
                </c:pt>
                <c:pt idx="2">
                  <c:v>35111.053719008269</c:v>
                </c:pt>
                <c:pt idx="3">
                  <c:v>956.90802348336592</c:v>
                </c:pt>
                <c:pt idx="4">
                  <c:v>6379.6974063400576</c:v>
                </c:pt>
                <c:pt idx="5">
                  <c:v>8691.4627994955863</c:v>
                </c:pt>
                <c:pt idx="6">
                  <c:v>20726.226611226612</c:v>
                </c:pt>
                <c:pt idx="7">
                  <c:v>4221.7228464419468</c:v>
                </c:pt>
                <c:pt idx="8">
                  <c:v>1752.3170731707321</c:v>
                </c:pt>
                <c:pt idx="9">
                  <c:v>5431.6768665850677</c:v>
                </c:pt>
                <c:pt idx="10">
                  <c:v>2424.0594059405939</c:v>
                </c:pt>
                <c:pt idx="11">
                  <c:v>3167.5167785234898</c:v>
                </c:pt>
                <c:pt idx="12">
                  <c:v>2165.5472636815921</c:v>
                </c:pt>
                <c:pt idx="13">
                  <c:v>11865.907429963459</c:v>
                </c:pt>
                <c:pt idx="14">
                  <c:v>4761.8113207547167</c:v>
                </c:pt>
                <c:pt idx="15">
                  <c:v>1840.8</c:v>
                </c:pt>
                <c:pt idx="16">
                  <c:v>25830.86903304774</c:v>
                </c:pt>
                <c:pt idx="17">
                  <c:v>7665.3875968992243</c:v>
                </c:pt>
                <c:pt idx="18">
                  <c:v>2258.3985765124548</c:v>
                </c:pt>
                <c:pt idx="19">
                  <c:v>502.59259259259261</c:v>
                </c:pt>
                <c:pt idx="20">
                  <c:v>1782.271880819367</c:v>
                </c:pt>
                <c:pt idx="21">
                  <c:v>1204.459102902375</c:v>
                </c:pt>
                <c:pt idx="22">
                  <c:v>1723.954154727794</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Truffe Boite 1X150Gr 1P</c:v>
                  </c:pt>
                  <c:pt idx="4">
                    <c:v>Boursin Classique Fromage Frais A Tartiner Figue Et 3 Noix Boite 1X150Gr 1P</c:v>
                  </c:pt>
                  <c:pt idx="5">
                    <c:v>Boursin Classique Fromage Frais A Tartiner Ciboulette &amp; Echalote Boite 1X150Gr 1P</c:v>
                  </c:pt>
                  <c:pt idx="6">
                    <c:v>Boursin Salade &amp; Aperitif Fromage Frais Des Afh 1X120Gr 1P</c:v>
                  </c:pt>
                  <c:pt idx="7">
                    <c:v>Boursin Salade &amp; Aperitif Fromage Frais Des Figue Noix 1X120Gr 1P</c:v>
                  </c:pt>
                  <c:pt idx="8">
                    <c:v>Boursin Salade &amp; Aperitif Fromage Frais Des Noisette Et 3 Noix 1X120Gr 1P</c:v>
                  </c:pt>
                  <c:pt idx="9">
                    <c:v>Boursin Salade &amp; Aperitif Fromage Frais Des Ciboulette Echalote 1X120Gr 1P</c:v>
                  </c:pt>
                  <c:pt idx="10">
                    <c:v>Boursin Salade &amp; Aperitif Fromage Frais Des Citron Romarin 1X120Gr 1P</c:v>
                  </c:pt>
                  <c:pt idx="11">
                    <c:v>Boursin Classique Fromage Frais A Tartiner Afh Boite 1X80Gr 1P</c:v>
                  </c:pt>
                  <c:pt idx="12">
                    <c:v>Boursin Classique Fromage Frais A Tartiner Poivre Boite 1X150Gr 1P</c:v>
                  </c:pt>
                  <c:pt idx="13">
                    <c:v>Boursin Classique Fromage Frais A Tartiner Afh Boite 1X96Gr 6P</c:v>
                  </c:pt>
                  <c:pt idx="14">
                    <c:v>Boursin Classique Fromage Frais A Tartiner Afh 1X256Gr 16P</c:v>
                  </c:pt>
                  <c:pt idx="15">
                    <c:v>Boursin Classique Fromage Frais A Tartiner Ciboulette &amp; Echalote 1X160Gr 10P</c:v>
                  </c:pt>
                  <c:pt idx="16">
                    <c:v>Boursin Classique Fromage Frais A Tartiner Afh Boite 1X250Gr 1P</c:v>
                  </c:pt>
                  <c:pt idx="17">
                    <c:v>Boursin Onctueux Fromage Frais A Tartiner Afh 1X125Gr 1P</c:v>
                  </c:pt>
                  <c:pt idx="18">
                    <c:v>Boursin Onctueux Fromage Frais A Tartiner Afh 1X210Gr 1P</c:v>
                  </c:pt>
                  <c:pt idx="19">
                    <c:v>Boursin Classique Fromage Frais A Tartiner Citron &amp; Romarin Boite 1X150Gr 1P</c:v>
                  </c:pt>
                  <c:pt idx="20">
                    <c:v>Boursin Classique Fromage Frais A Tartiner 3 Noix Boite 1X150Gr 1P</c:v>
                  </c:pt>
                  <c:pt idx="21">
                    <c:v>Boursin Classique Fromage Frais A Tartiner 3 Noix 1X160Gr 10P</c:v>
                  </c:pt>
                  <c:pt idx="22">
                    <c:v>Bel Boursin Salade &amp; Aperitif Soft Cheese Salade 1 Ct X 1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9840A4F-0847-47EB-A5CA-5967044C1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459B15E-11C6-42BA-8C66-787190F5A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49CCFB0-F81E-41BE-8E60-230C067C4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5AF4AB2-38E0-446E-9F93-AFE3AC39E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9EC9ECE0-61D3-44F1-8206-94A9EDA6A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7DF302A0-AC04-4893-A9F0-5A3E88C37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4C2DF575-C136-4FB6-B47B-3CEF032D0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E653719E-91C3-4967-9E1A-D2DAFD541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A8789C97-73B4-43BC-A83F-B10FE9E4C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F1A789D3-6A31-4762-B4EF-8EDB5E175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85C638A6-91D6-4FD2-9C30-34E52A02B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D21E3BCC-54A0-4505-AC8A-41C8B8950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E5F58D13-03E2-4ADB-B3A8-AE42347B2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753939E2-E72D-41F9-B589-8A8ABFE18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EED8F331-FC85-44A5-805D-420BB3607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13935412-E0A5-4317-8A62-7C5BC46DD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F1F108BF-27AF-42B2-B872-DAFC0F731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CDE364D-5B42-458A-BD0E-A719FC623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41337B1B-8712-468C-B746-99BDFF9B5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71120868-E1F5-45C2-B6EB-EDCB885AB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87A11E88-B2E1-4F17-85D7-F7E79A5D1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845E0244-A16F-4582-80AA-73A572D4C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5DBC5E65-6D4F-47BE-92D9-FDA7F7C3E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8E615C87-F888-4C29-9AE4-3E0584415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E2408C06-8F4E-4F45-88D7-F34B826E8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CF4699DB-D4D9-4046-8344-52CEC143C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0862F493-21DD-4FBE-93FF-30C57B930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78810369-52B7-4944-AF11-F246143D6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03D08FD6-D8D3-4521-8B5B-D8B42A230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0451990-D374-409B-8509-EB5DE4AE7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AFFE3B67-64DA-43CE-BF6D-4CF588775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7B7AB832-122C-46CA-A3BA-4B37CB5A8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AF7CA497-143B-4F88-A960-D5EFBA5FE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16DCE15B-D750-46B1-B800-B3E1622CD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9485C721-5C4C-404F-8121-E480CFD7A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FA58F80-178A-4C99-8078-AA20301D2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AD815749-0F6B-4632-BC72-A859BB92C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F1A25286-429E-41F8-9EA8-CAC203582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81266831-29C8-450D-B091-86715D593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6F8F251D-3FD8-4317-9DEE-8E8A60543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BAAA74C2-A9DF-4E74-8FFA-E29BC5A13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A653F772-8943-467D-BC5F-FDD4BF3A6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0CA34905-4815-4C15-9ACB-8D986E878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F70CE037-9860-43E5-A29E-BC5E14F85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7EEB427C-7AF2-459E-B7D8-D40A34FCC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26EE994-0A87-442F-AA62-53F7AEA88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604DDCB-B3DD-4C60-9B88-0EC184DE5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172D370-5813-438D-A7B2-0BF9D7D32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F93FAAC-F112-4D5A-A004-5F36BDE2F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076EC171-47F6-4525-BC95-01DFAE468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69132A19-E6C3-4A0E-BCE4-783430488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575EDBE-AB81-4348-99F7-22C645408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E87C3A29-D974-490A-89AE-7C3A32EEE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6F87BF4F-7F0B-4116-A70F-E6C64199E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6A0F33ED-3CE0-4D98-AB66-5427FEB16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5F513525-584D-47C4-9C50-FA5477007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4BDC8133-613E-4A2C-A324-05FF3264A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2080000000000001</c:v>
                </c:pt>
                <c:pt idx="1">
                  <c:v>0.40210000000000001</c:v>
                </c:pt>
                <c:pt idx="2">
                  <c:v>0.38840000000000002</c:v>
                </c:pt>
              </c:numCache>
            </c:numRef>
          </c:xVal>
          <c:yVal>
            <c:numRef>
              <c:f>Sheet1!$B$2:$B$4</c:f>
              <c:numCache>
                <c:formatCode>General</c:formatCode>
                <c:ptCount val="3"/>
                <c:pt idx="0">
                  <c:v>0.40160000000000001</c:v>
                </c:pt>
                <c:pt idx="1">
                  <c:v>0.3861</c:v>
                </c:pt>
                <c:pt idx="2">
                  <c:v>0.32579999999999998</c:v>
                </c:pt>
              </c:numCache>
            </c:numRef>
          </c:yVal>
          <c:bubbleSize>
            <c:numRef>
              <c:f>Sheet1!$C$2:$C$4</c:f>
              <c:numCache>
                <c:formatCode>General</c:formatCode>
                <c:ptCount val="3"/>
                <c:pt idx="0">
                  <c:v>9290.7881136950891</c:v>
                </c:pt>
                <c:pt idx="1">
                  <c:v>7421.5241057542771</c:v>
                </c:pt>
                <c:pt idx="2">
                  <c:v>5613.8606676342533</c:v>
                </c:pt>
              </c:numCache>
            </c:numRef>
          </c:bubbleSize>
          <c:bubble3D val="0"/>
          <c:extLst>
            <c:ext xmlns:c15="http://schemas.microsoft.com/office/drawing/2012/chart" uri="{02D57815-91ED-43cb-92C2-25804820EDAC}">
              <c15:datalabelsRange>
                <c15:f>Sheet1!$E$2:$E$58</c15:f>
                <c15:dlblRangeCache>
                  <c:ptCount val="57"/>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0F94147-12D2-4770-BF0F-12390C976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FE6BE82-1A85-4D5D-97A5-2579F552CE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BCFF42B-ECB7-48CC-91FA-DCDF11AA1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E673980-04B9-404A-8A58-48996FD66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BFD25A91-7064-41C3-B938-3396F6727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DDE3017-950A-43BF-89E9-BA18BD7E5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8909118-64BF-4BF4-83CE-3F208DF76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605F9DF9-8005-4382-A045-E4EA2EF7A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76987360-E6FD-492C-BCA6-6132A0A87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7A4AD23-AFAF-42F5-990C-8F7E8F2A27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D29B6508-18B9-4F9F-B28A-1E9DC152F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F4EC32C-A225-484C-BC95-32DD8BD69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63D320D-D861-4417-9F91-7247398DD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984C386-33A4-4C8F-86DD-F7A4828CE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09E39F3-3B82-43CF-9D1A-739BED676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5BF17DBA-2B0B-4F3E-9DE2-C4F3400A07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125CB37-067E-4516-97D8-16ADEABC4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6CF24047-C6A5-4808-8EC3-1E522C38D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B23FB68A-EF00-4433-8592-DC755DB19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41EB8A2F-CBE5-452D-A1C2-104AA72FC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DB219137-F95B-40C5-AF25-B80207C26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0EE44449-9545-46DD-B94B-EC8795AA9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90181273-76E5-416D-A281-1EFE33D42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2D0AC8FB-294C-40B8-ADC2-177CB58644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8675F031-0244-4B6D-9129-8F8C6277C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4A3834A2-8B09-458C-9D1C-3DA9480E4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B8A48720-836A-4B3C-9B91-1CA6B8570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FBAB16E3-3CAF-4C32-8FC2-51913FDEB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51BE158E-294A-4BE5-A590-8B465DA5F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92FC0EAC-5614-434E-9548-B797E3735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8C70A9B7-2777-431D-9D86-64A9E9C83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36CA75C4-A4C5-4870-9D8B-21515F785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912424D1-F6CA-4FA7-83DB-FBC37E42F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2437C755-5866-4601-98A8-D853DD960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F21EC626-7658-4029-B596-D77915737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CD981D6F-C711-4C76-A843-A1CEE2FA0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465C528E-BFD1-4971-93F2-909105F82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77C27697-D3AF-44C3-BE55-F0E72346C5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199D5CB8-250C-4ADB-9FCE-BA71CF957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FAA9B532-909B-49F3-B53B-65823C19E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B1526C85-EA32-4B3B-9E4D-2FFA063B1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4ECC5D86-D553-4FEA-BB73-C3CF7421A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55E27733-EE0D-4F35-98CC-DED6A4A39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47DD7249-E52D-4E1D-8A80-EB6711001F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E5B4F016-0DDC-4BBB-9DDB-B5C0AFA51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C498E06C-8686-4668-A1FC-8B935DFCF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8BBB1C66-08A1-4872-87DD-2482AB99E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7A3F8E09-7B7D-488F-97A4-97472CEA0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B0258959-241D-422D-A6D6-0DC4FBF13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4DB6197D-D8CD-4E40-A6E5-7F4AE8305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633985E0-0A88-4E61-BBC8-AC5A7EAD8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EB53218E-95B8-4DA0-AC80-E16BD6362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CE9C8722-E4D1-4548-B29B-0D164B50C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8BB2C1EA-69B7-4D3B-8FD4-16B57C9EC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2B07BC52-E7F2-4774-B0BB-A4FBD91BD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2D4B040B-6E3A-48C7-ADF7-7B9445953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71A52CA8-430F-40E7-B16D-129610583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8</c:f>
              <c:numCache>
                <c:formatCode>General</c:formatCode>
                <c:ptCount val="17"/>
                <c:pt idx="0">
                  <c:v>0.3483</c:v>
                </c:pt>
                <c:pt idx="1">
                  <c:v>0.307</c:v>
                </c:pt>
                <c:pt idx="2">
                  <c:v>0.3422</c:v>
                </c:pt>
                <c:pt idx="3">
                  <c:v>0.3775</c:v>
                </c:pt>
                <c:pt idx="4">
                  <c:v>0.35499999999999998</c:v>
                </c:pt>
                <c:pt idx="5">
                  <c:v>0.34489999999999998</c:v>
                </c:pt>
                <c:pt idx="6">
                  <c:v>0.31900000000000001</c:v>
                </c:pt>
                <c:pt idx="7">
                  <c:v>0.37180000000000002</c:v>
                </c:pt>
                <c:pt idx="8">
                  <c:v>0.35110000000000002</c:v>
                </c:pt>
                <c:pt idx="9">
                  <c:v>0.24660000000000001</c:v>
                </c:pt>
                <c:pt idx="10">
                  <c:v>0.43590000000000001</c:v>
                </c:pt>
                <c:pt idx="11">
                  <c:v>0.3392</c:v>
                </c:pt>
                <c:pt idx="12">
                  <c:v>0.38400000000000001</c:v>
                </c:pt>
                <c:pt idx="13">
                  <c:v>0.50129999999999997</c:v>
                </c:pt>
                <c:pt idx="14">
                  <c:v>0.52449999999999997</c:v>
                </c:pt>
                <c:pt idx="15">
                  <c:v>0.52400000000000002</c:v>
                </c:pt>
                <c:pt idx="16">
                  <c:v>0.45950000000000002</c:v>
                </c:pt>
              </c:numCache>
            </c:numRef>
          </c:xVal>
          <c:yVal>
            <c:numRef>
              <c:f>Sheet1!$B$2:$B$18</c:f>
              <c:numCache>
                <c:formatCode>General</c:formatCode>
                <c:ptCount val="17"/>
                <c:pt idx="0">
                  <c:v>0.33229999999999998</c:v>
                </c:pt>
                <c:pt idx="1">
                  <c:v>0.1164</c:v>
                </c:pt>
                <c:pt idx="2">
                  <c:v>0.37059999999999998</c:v>
                </c:pt>
                <c:pt idx="3">
                  <c:v>0.26329999999999998</c:v>
                </c:pt>
                <c:pt idx="4">
                  <c:v>0.34</c:v>
                </c:pt>
                <c:pt idx="5">
                  <c:v>0.3397</c:v>
                </c:pt>
                <c:pt idx="6">
                  <c:v>0.39140000000000003</c:v>
                </c:pt>
                <c:pt idx="7">
                  <c:v>0.35070000000000001</c:v>
                </c:pt>
                <c:pt idx="8">
                  <c:v>0.36730000000000002</c:v>
                </c:pt>
                <c:pt idx="9">
                  <c:v>0.2873</c:v>
                </c:pt>
                <c:pt idx="10">
                  <c:v>0.24879999999999999</c:v>
                </c:pt>
                <c:pt idx="11">
                  <c:v>0.2989</c:v>
                </c:pt>
                <c:pt idx="12">
                  <c:v>0.34599999999999997</c:v>
                </c:pt>
                <c:pt idx="13">
                  <c:v>8.1500000000000003E-2</c:v>
                </c:pt>
                <c:pt idx="14">
                  <c:v>8.9099999999999999E-2</c:v>
                </c:pt>
                <c:pt idx="15">
                  <c:v>-1.0999999999999999E-2</c:v>
                </c:pt>
                <c:pt idx="16">
                  <c:v>7.9399999999999998E-2</c:v>
                </c:pt>
              </c:numCache>
            </c:numRef>
          </c:yVal>
          <c:bubbleSize>
            <c:numRef>
              <c:f>Sheet1!$C$2:$C$18</c:f>
              <c:numCache>
                <c:formatCode>General</c:formatCode>
                <c:ptCount val="17"/>
                <c:pt idx="0">
                  <c:v>36210.382513661199</c:v>
                </c:pt>
                <c:pt idx="1">
                  <c:v>912.44318181818176</c:v>
                </c:pt>
                <c:pt idx="2">
                  <c:v>35111.053719008269</c:v>
                </c:pt>
                <c:pt idx="3">
                  <c:v>956.90802348336592</c:v>
                </c:pt>
                <c:pt idx="4">
                  <c:v>6379.6974063400576</c:v>
                </c:pt>
                <c:pt idx="5">
                  <c:v>8691.4627994955863</c:v>
                </c:pt>
                <c:pt idx="6">
                  <c:v>3167.5167785234898</c:v>
                </c:pt>
                <c:pt idx="7">
                  <c:v>2165.5472636815921</c:v>
                </c:pt>
                <c:pt idx="8">
                  <c:v>11865.907429963459</c:v>
                </c:pt>
                <c:pt idx="9">
                  <c:v>4761.8113207547167</c:v>
                </c:pt>
                <c:pt idx="10">
                  <c:v>1840.8</c:v>
                </c:pt>
                <c:pt idx="11">
                  <c:v>25830.86903304774</c:v>
                </c:pt>
                <c:pt idx="12">
                  <c:v>7665.3875968992243</c:v>
                </c:pt>
                <c:pt idx="13">
                  <c:v>2258.3985765124548</c:v>
                </c:pt>
                <c:pt idx="14">
                  <c:v>502.59259259259261</c:v>
                </c:pt>
                <c:pt idx="15">
                  <c:v>1782.271880819367</c:v>
                </c:pt>
                <c:pt idx="16">
                  <c:v>1204.459102902375</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Truffe Boite 1X150Gr 1P</c:v>
                  </c:pt>
                  <c:pt idx="4">
                    <c:v>Boursin Classique Fromage Frais A Tartiner Figue Et 3 Noix Boite 1X150Gr 1P</c:v>
                  </c:pt>
                  <c:pt idx="5">
                    <c:v>Boursin Classique Fromage Frais A Tartiner Ciboulette &amp; Echalote Boite 1X150Gr 1P</c:v>
                  </c:pt>
                  <c:pt idx="6">
                    <c:v>Boursin Classique Fromage Frais A Tartiner Afh Boite 1X80Gr 1P</c:v>
                  </c:pt>
                  <c:pt idx="7">
                    <c:v>Boursin Classique Fromage Frais A Tartiner Poivre Boite 1X150Gr 1P</c:v>
                  </c:pt>
                  <c:pt idx="8">
                    <c:v>Boursin Classique Fromage Frais A Tartiner Afh Boite 1X96Gr 6P</c:v>
                  </c:pt>
                  <c:pt idx="9">
                    <c:v>Boursin Classique Fromage Frais A Tartiner Afh 1X256Gr 16P</c:v>
                  </c:pt>
                  <c:pt idx="10">
                    <c:v>Boursin Classique Fromage Frais A Tartiner Ciboulette &amp; Echalote 1X160Gr 10P</c:v>
                  </c:pt>
                  <c:pt idx="11">
                    <c:v>Boursin Classique Fromage Frais A Tartiner Afh Boite 1X250Gr 1P</c:v>
                  </c:pt>
                  <c:pt idx="12">
                    <c:v>Boursin Onctueux Fromage Frais A Tartiner Afh 1X125Gr 1P</c:v>
                  </c:pt>
                  <c:pt idx="13">
                    <c:v>Boursin Onctueux Fromage Frais A Tartiner Afh 1X210Gr 1P</c:v>
                  </c:pt>
                  <c:pt idx="14">
                    <c:v>Boursin Classique Fromage Frais A Tartiner Citron &amp; Romarin Boite 1X150Gr 1P</c:v>
                  </c:pt>
                  <c:pt idx="15">
                    <c:v>Boursin Classique Fromage Frais A Tartiner 3 Noix Boite 1X150Gr 1P</c:v>
                  </c:pt>
                  <c:pt idx="16">
                    <c:v>Boursin Classique Fromage Frais A Tartiner 3 Noix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F00A85A-DA55-46FB-ABFE-7958B6D80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E3B55C5-8968-463A-9092-83C26AFF7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4FB8C945-9F28-40CA-8BE3-8DD82EEF5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7EDD821B-CDCB-4B44-964D-5728094F1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AE56471-F9A8-4BFB-A308-E86FF74EF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9E2035F-732D-4A34-8ED5-EAD5780BB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A2BE169A-1055-4E00-9044-A1FB2B722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70CBB2FC-0318-41D6-A7FD-FECC64916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09059AF6-ECBB-426A-AA4A-D402542B8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44A42C95-50B9-40CA-A52E-F34FB24B0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7268370-7EF8-4C93-8199-D4B14643E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495AE57B-3B5A-435C-A952-FD14930738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B893292E-44F7-443B-AAE8-C9E531C72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D8CADEA4-E765-4013-A3EE-C3809335B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00652D13-112D-45A9-A8A7-F3223B0B9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620D1F74-BBAF-4BCC-BD79-7CC8447FF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AAAEF995-FB65-430C-BADA-A1830FB80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D62B5AB1-1702-4D24-80EB-CF689AEB2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98D33097-2C49-48A1-8677-83DDB7AFF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5A5432D-F7B9-4348-9B58-2FAB6907D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703799E1-756A-45D4-83DC-154D4B4FE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B1C117F2-E7BD-427A-A8ED-4E9DF1E1F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D0D3BA4E-0E86-4A91-AB0D-89AE6EBC0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0E48C71-AA08-4DDA-ACAA-7ED0CD3AE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F2E203EB-E7D7-4DCB-B5BD-A8C62333C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7B44D6B1-3ECB-4D77-8ECC-67FE01776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7EADCDC3-1ACB-48A2-865E-B40E81810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9B6E231F-27C5-41E4-ACD4-8AA37F724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EB615481-B2FA-4825-AB77-E4B84DFEC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ABD66333-2606-499B-81BE-0C2A00214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E498FD7A-DE97-4B22-8FB6-B186226F1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A4C581F5-50DC-4C0A-BFC2-09E78E5B0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F6656103-2D7A-42FF-9187-0D631360AA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C302CADF-3AFB-4F36-A6B1-57A0D3278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6CCCD2BD-32E8-4AB9-9FB5-BC07FA9BA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60F6F14C-FDCE-43A4-91CB-E0B043B98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039B0915-EB29-4806-BCF7-869E48177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F8F3EEAE-84BE-4350-AAEE-C154A57E3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29898BAA-2F6F-4B0A-A55B-6BA1A3EA0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B1D4284F-C7DB-45A0-B860-59090886B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2FFA182-A188-4242-A2B3-6B538B3CD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66BCD52-0DA3-4006-9839-373CDC85D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472C4FA3-24E1-4C0A-ABD9-B3B88E758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8A18831E-066B-446F-ADFC-1DE71C159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1AE2920E-B020-4D3E-AC1B-8EFC9974F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2FF1C979-0025-4756-942C-A71356CFE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18D9ED1E-B87B-4458-9851-72485E5F5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00C36F7-2191-407D-B0DC-D4F60681D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AB9D4CCF-AC86-49F7-BC4F-FD4FB0DEA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EBDC427E-E074-4F74-B63D-71FD14551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8B3429F7-ADC8-40B1-BB6E-FC94BCD8C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AC4E6E92-354B-42FF-BF1F-2AE54B1E0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87ABEA32-D1DF-4562-99C9-65F3082EE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0813571D-5A21-4E0A-A1C7-9ABF9D518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3E4A674D-6516-451D-9007-1999515C9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F37D6C10-67AE-4539-B436-BEA3953E5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93A5221D-B3A6-4CC4-A1D2-68F8AD35A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926</c:v>
                </c:pt>
                <c:pt idx="1">
                  <c:v>0.44700000000000001</c:v>
                </c:pt>
                <c:pt idx="2">
                  <c:v>0.53649999999999998</c:v>
                </c:pt>
                <c:pt idx="3">
                  <c:v>0.4264</c:v>
                </c:pt>
                <c:pt idx="4">
                  <c:v>0.40820000000000001</c:v>
                </c:pt>
                <c:pt idx="5">
                  <c:v>0.38669999999999999</c:v>
                </c:pt>
              </c:numCache>
            </c:numRef>
          </c:xVal>
          <c:yVal>
            <c:numRef>
              <c:f>Sheet1!$B$2:$B$7</c:f>
              <c:numCache>
                <c:formatCode>General</c:formatCode>
                <c:ptCount val="6"/>
                <c:pt idx="0">
                  <c:v>0.34379999999999999</c:v>
                </c:pt>
                <c:pt idx="1">
                  <c:v>0.15479999999999999</c:v>
                </c:pt>
                <c:pt idx="2">
                  <c:v>7.4200000000000002E-2</c:v>
                </c:pt>
                <c:pt idx="3">
                  <c:v>0.20549999999999999</c:v>
                </c:pt>
                <c:pt idx="4">
                  <c:v>0.25459999999999999</c:v>
                </c:pt>
                <c:pt idx="5">
                  <c:v>0.28749999999999998</c:v>
                </c:pt>
              </c:numCache>
            </c:numRef>
          </c:yVal>
          <c:bubbleSize>
            <c:numRef>
              <c:f>Sheet1!$C$2:$C$7</c:f>
              <c:numCache>
                <c:formatCode>General</c:formatCode>
                <c:ptCount val="6"/>
                <c:pt idx="0">
                  <c:v>20726.226611226612</c:v>
                </c:pt>
                <c:pt idx="1">
                  <c:v>4221.7228464419468</c:v>
                </c:pt>
                <c:pt idx="2">
                  <c:v>1752.3170731707321</c:v>
                </c:pt>
                <c:pt idx="3">
                  <c:v>5431.6768665850677</c:v>
                </c:pt>
                <c:pt idx="4">
                  <c:v>2424.0594059405939</c:v>
                </c:pt>
                <c:pt idx="5">
                  <c:v>1723.954154727794</c:v>
                </c:pt>
              </c:numCache>
            </c:numRef>
          </c:bubbleSize>
          <c:bubble3D val="0"/>
          <c:extLst>
            <c:ext xmlns:c15="http://schemas.microsoft.com/office/drawing/2012/chart" uri="{02D57815-91ED-43cb-92C2-25804820EDAC}">
              <c15:datalabelsRange>
                <c15:f>Sheet1!$E$2:$E$58</c15:f>
                <c15:dlblRangeCache>
                  <c:ptCount val="57"/>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el Boursin Salade &amp; Aperitif Soft Cheese Salade 1 Ct X 1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41B9AA6-C03D-4AFC-9D4F-E3E538E53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94D5135-20BE-4B79-BA5E-0F348C781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311C026D-874A-400A-BD45-7576B35FA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DA8E2D2-EB65-4792-BA6A-09A44F130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FDA-4C69-8E79-A083B7EFBA29}"/>
                </c:ext>
              </c:extLst>
            </c:dLbl>
            <c:dLbl>
              <c:idx val="4"/>
              <c:tx>
                <c:rich>
                  <a:bodyPr/>
                  <a:lstStyle/>
                  <a:p>
                    <a:fld id="{BA03CC06-8C3F-4A7F-A785-481FF6321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EFA1718F-04EF-4927-9472-7B752DEB4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CEAA55C0-04B4-4D3A-AF0F-DDABF45CD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087B255-A533-4943-B69F-096EC54A5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19960EB5-DC0F-4B2A-AD05-2FFEF0280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71E1FBA1-A82D-42B3-B391-55DD977B6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9D6A5A17-A558-48DA-83B4-7A33F7EA2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155468BF-49E2-44F2-85CF-7E27E1AEE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1F79C629-320C-43C7-805C-16A3E5DF7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6406227B-1AC6-4A73-A3EB-79C12B25E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930F4D53-E48A-4ED5-9D1C-1B648B9B0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0BE27E50-DD55-4DF7-A3BB-F728211B1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5C3305B7-6016-4D3C-A218-29D3DC7FB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1468F2E-91CB-49ED-8B77-0D761F505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87591249-86CD-4769-AF14-ADBCD2BCF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B84848C1-AC16-4BFB-AC8D-8EEF600A1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770BA666-16C8-4A12-A5C7-C9B6F9648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8876791C-80E2-4260-9DCF-7DCCD33CF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2C7F12C3-5CBA-4F59-B890-5B4722EFF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EC400A02-9E5A-4E58-AD5D-DC93BEEBA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2E534266-F493-4891-B8F3-115010F8F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058EB027-51CB-472F-85CC-3E1C9C5BF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CABB7AD5-BA2B-40B0-81EA-EA3557D8A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0062753C-CAF8-4AE9-9D98-43507F516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07809114-C4F4-4FA0-A06D-08985BA3E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45EF5CE1-79D8-41E4-B787-E8B15E710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2377A5CF-92B4-47D3-9538-1F85DC1F4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E73A707C-D40D-4D87-9330-0CD4E0216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49C76F8D-0B95-4942-9517-30E802806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AD462DD6-0EA2-4396-B583-0F16BC677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A56425CB-CCC0-41A4-9C73-C77D9A60A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6B9975C4-5D4B-450D-878D-D632E5AA3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7AFC5A1A-2C12-4883-AF1F-543F82F1D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532DD915-A56F-4283-8672-37C6E9F5E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F32BB75A-8EDB-4F8E-A55A-83B06AECF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8F1E9F4F-5F13-49EB-AD87-BC2F185DC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95A36CF6-62FC-4820-AE46-A269E95FD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C542F547-5571-4E66-8BF0-78B5321FF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76D13503-1BA7-4D24-85C3-D2C9491CA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4FDD1EF0-455F-44AB-BA1B-FCFFCBFAE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215792A8-2631-4A94-B0BA-259A5BC36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F6726D5-CBE4-4D30-BA1C-D8A8B6F41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020932A8-A6B2-461C-BED3-3B7057F20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2A2A3CFB-14FF-407C-9E0D-760551827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4CA0A080-E9F9-4057-A137-C639E3D18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7F864EA8-AC3A-4143-9BDF-195B4DE3D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12CF90DD-1B18-4D3B-8207-BF8E9B7F3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4004545F-C3CE-4AFF-842B-B29F2F9C1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0691AB1A-0310-4848-909C-4389B9956C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9E8AB0E-B13A-43DE-BAC2-CDC59C5F0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44F3F829-0D75-4685-A9A6-8C8A11A43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3E31D8F6-262D-4BF4-A68A-2CCDE00ED9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CD5BE4A9-10E8-47D5-AF28-6D00D564D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c:f>
              <c:numCache>
                <c:formatCode>General</c:formatCode>
                <c:ptCount val="3"/>
                <c:pt idx="0">
                  <c:v>0.4577</c:v>
                </c:pt>
                <c:pt idx="1">
                  <c:v>0.49909999999999999</c:v>
                </c:pt>
                <c:pt idx="2">
                  <c:v>0.43070000000000003</c:v>
                </c:pt>
              </c:numCache>
            </c:numRef>
          </c:xVal>
          <c:yVal>
            <c:numRef>
              <c:f>Sheet1!$B$2:$B$4</c:f>
              <c:numCache>
                <c:formatCode>General</c:formatCode>
                <c:ptCount val="3"/>
                <c:pt idx="0">
                  <c:v>0.3745</c:v>
                </c:pt>
                <c:pt idx="1">
                  <c:v>0.26479999999999998</c:v>
                </c:pt>
                <c:pt idx="2">
                  <c:v>0.23860000000000001</c:v>
                </c:pt>
              </c:numCache>
            </c:numRef>
          </c:yVal>
          <c:bubbleSize>
            <c:numRef>
              <c:f>Sheet1!$C$2:$C$4</c:f>
              <c:numCache>
                <c:formatCode>General</c:formatCode>
                <c:ptCount val="3"/>
                <c:pt idx="0">
                  <c:v>6139.8327359617679</c:v>
                </c:pt>
                <c:pt idx="1">
                  <c:v>481.37096774193537</c:v>
                </c:pt>
                <c:pt idx="2">
                  <c:v>3027.5083798882679</c:v>
                </c:pt>
              </c:numCache>
            </c:numRef>
          </c:bubbleSize>
          <c:bubble3D val="0"/>
          <c:extLst>
            <c:ext xmlns:c15="http://schemas.microsoft.com/office/drawing/2012/chart" uri="{02D57815-91ED-43cb-92C2-25804820EDAC}">
              <c15:datalabelsRange>
                <c15:f>Sheet1!$E$2:$E$58</c15:f>
                <c15:dlblRangeCache>
                  <c:ptCount val="57"/>
                  <c:pt idx="0">
                    <c:v>Kiri Delicieusement Fouette Fromage Frais A Tartiner 1X125Gr 1P</c:v>
                  </c:pt>
                  <c:pt idx="1">
                    <c:v>Kiri Delicieusement Fouette Fromage Frais A Tartiner 1X210Gr 1P</c:v>
                  </c:pt>
                  <c:pt idx="2">
                    <c:v>Kiri Delicieusement Fouette Fromage Frais A Tartiner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6FED2A2-8F58-4FB4-B28E-1D0C0A323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730010C8-69C8-440C-A556-3844726C3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85F3F4D-4028-41DD-9F8C-9C29121F0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C52E36C-6583-48B5-8A88-F98E093F1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A9924D4-0885-4CAC-92C0-DDC0F5727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530CA37-A33E-47C0-9F3E-F0AE055E61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76093A90-E136-41A1-A6EF-8B2536B46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70F7A049-0D6A-4897-8CE8-D6825983B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9069600-69DC-4214-9A9D-BDB8772AB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91589C2-E9BC-4376-A378-BB7617233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DAAF41D-DDD5-4E7B-9489-3D913EB39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DAB3EBC-2CD8-4087-AABE-DDCCB743D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06100E6-5019-4A57-88B7-8DA79AB7D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E8B66A31-CA29-4D01-9CC3-11B486481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03CE20B0-4F34-4327-9AC4-69BB34811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25C8B5DF-C69B-4474-BD26-C6F59CB9E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38E95467-2B75-48CD-ABDC-9314D856D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3E7FAAA5-BF2F-4BE6-8EE3-5B020CE3E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7E846971-DF4F-403B-AD2F-757DAAAD3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D0FDC43F-25B4-4D78-8953-7AA36396F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B53740FE-F8CE-4C88-A8AE-54AF237F7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78BBA13D-10DF-495E-8199-C6E2BEBE3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55783B31-8B8A-400F-A42E-833A35D66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E4B1B74-11CC-4CBD-AB12-BFAF3E600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DC57DF2C-DE37-48F1-BAC4-49DCF4E71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F46B4CF5-98CF-477C-96CC-21C257F9C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196A3DAC-C758-46CE-A2A5-575673B6C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AF9F80A5-06F8-4BE3-8A1A-2CA525F6C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451E3197-51F6-40A3-8E0A-CC07B1C13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9F81F7A-557C-4901-8C4E-434323C9F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96F8494E-DACB-4DD4-9C01-9059CB46F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DC71F485-6F86-4E99-8ADE-B0371B7BA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4B5CC1D7-502E-4894-8186-4854B48B6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58A42A71-A3D8-46FD-863D-48E65DF83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3B6B8DED-49D7-432F-A63E-366A6A92ED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33DA2A47-0F1C-4DF0-811E-DACD9E53A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59550D39-DBA0-4BC8-AA45-63C3C9959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C6599298-2509-4659-86A1-DE5923294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9A7729B2-1A67-4115-B111-B89C91B38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38CE636-3745-4C0C-BB63-E8D6E74CA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DE6D9A65-1BFC-4195-AF43-81D5B3E9F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30894402-4150-4A65-9C7A-85E431C9E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9710525C-1119-4283-B460-D0CAF8C3A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D682B71-3779-47B1-A4D7-BF4B79E21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961C9274-8F06-4007-BAAC-6430416B4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BF4B3E70-00B0-4345-85FA-143145208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38BEB3BF-E1E2-46FF-BE15-F28DA7D14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92DE5807-FE48-4225-9342-B437156B9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EEDF7CB-4317-459C-BD47-A84476268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5A90F296-1455-46CA-9B4E-653AD66B1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92017A60-33C0-466D-934E-99EB91277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91AAFC65-5614-4B98-9425-F321EA97D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969ACC9C-7EF0-48DE-A801-16D0A6332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4B8358ED-DAC6-4864-8682-2F1FEE575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1737CCDA-23DA-47A7-9CF2-7101E3604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F4C0207-1C8B-45E1-BABB-3F19FBFE0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B27F66D4-99DC-48FA-8312-700D25E9D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3</c:f>
              <c:numCache>
                <c:formatCode>General</c:formatCode>
                <c:ptCount val="12"/>
                <c:pt idx="0">
                  <c:v>0.35720000000000002</c:v>
                </c:pt>
                <c:pt idx="1">
                  <c:v>0.36149999999999999</c:v>
                </c:pt>
                <c:pt idx="2">
                  <c:v>0.53720000000000001</c:v>
                </c:pt>
                <c:pt idx="3">
                  <c:v>0.40649999999999997</c:v>
                </c:pt>
                <c:pt idx="4">
                  <c:v>0.42870000000000003</c:v>
                </c:pt>
                <c:pt idx="5">
                  <c:v>0.40110000000000001</c:v>
                </c:pt>
                <c:pt idx="6">
                  <c:v>0.39090000000000003</c:v>
                </c:pt>
                <c:pt idx="7">
                  <c:v>0.4027</c:v>
                </c:pt>
                <c:pt idx="8">
                  <c:v>0.38950000000000001</c:v>
                </c:pt>
                <c:pt idx="9">
                  <c:v>0.436</c:v>
                </c:pt>
                <c:pt idx="10">
                  <c:v>0.37330000000000002</c:v>
                </c:pt>
                <c:pt idx="11">
                  <c:v>0.4899</c:v>
                </c:pt>
              </c:numCache>
            </c:numRef>
          </c:xVal>
          <c:yVal>
            <c:numRef>
              <c:f>Sheet1!$B$2:$B$13</c:f>
              <c:numCache>
                <c:formatCode>General</c:formatCode>
                <c:ptCount val="12"/>
                <c:pt idx="0">
                  <c:v>0.28370000000000001</c:v>
                </c:pt>
                <c:pt idx="1">
                  <c:v>0.3201</c:v>
                </c:pt>
                <c:pt idx="2">
                  <c:v>-2.98E-2</c:v>
                </c:pt>
                <c:pt idx="3">
                  <c:v>0.30370000000000003</c:v>
                </c:pt>
                <c:pt idx="4">
                  <c:v>0.30099999999999999</c:v>
                </c:pt>
                <c:pt idx="5">
                  <c:v>0.36820000000000003</c:v>
                </c:pt>
                <c:pt idx="6">
                  <c:v>0.34860000000000002</c:v>
                </c:pt>
                <c:pt idx="7">
                  <c:v>0.35220000000000001</c:v>
                </c:pt>
                <c:pt idx="8">
                  <c:v>0.1007</c:v>
                </c:pt>
                <c:pt idx="9">
                  <c:v>0.25869999999999999</c:v>
                </c:pt>
                <c:pt idx="10">
                  <c:v>0.22420000000000001</c:v>
                </c:pt>
                <c:pt idx="11">
                  <c:v>0.2535</c:v>
                </c:pt>
              </c:numCache>
            </c:numRef>
          </c:yVal>
          <c:bubbleSize>
            <c:numRef>
              <c:f>Sheet1!$C$2:$C$13</c:f>
              <c:numCache>
                <c:formatCode>General</c:formatCode>
                <c:ptCount val="12"/>
                <c:pt idx="0">
                  <c:v>27527.410805300711</c:v>
                </c:pt>
                <c:pt idx="1">
                  <c:v>24558.51703406814</c:v>
                </c:pt>
                <c:pt idx="2">
                  <c:v>648.25327510917032</c:v>
                </c:pt>
                <c:pt idx="3">
                  <c:v>10309.23469387755</c:v>
                </c:pt>
                <c:pt idx="4">
                  <c:v>8635.1798561151081</c:v>
                </c:pt>
                <c:pt idx="5">
                  <c:v>2730.8923076923079</c:v>
                </c:pt>
                <c:pt idx="6">
                  <c:v>7229.1382978723404</c:v>
                </c:pt>
                <c:pt idx="7">
                  <c:v>11438.093716719921</c:v>
                </c:pt>
                <c:pt idx="8">
                  <c:v>8505.5930232558148</c:v>
                </c:pt>
                <c:pt idx="9">
                  <c:v>5809.3564356435636</c:v>
                </c:pt>
                <c:pt idx="10">
                  <c:v>27838.234693877552</c:v>
                </c:pt>
                <c:pt idx="11">
                  <c:v>12471.15303983229</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Boursin Classique Fromage Frais A Tartiner Afh Boite 1X150Gr 1P</c:v>
                  </c:pt>
                  <c:pt idx="2">
                    <c:v>Boursin Classique Fromage Frais A Tartiner Truffe Boite 1X150Gr 1P</c:v>
                  </c:pt>
                  <c:pt idx="3">
                    <c:v>Boursin Classique Fromage Frais A Tartiner Figue Et 3 Noix Boite 1X150Gr 1P</c:v>
                  </c:pt>
                  <c:pt idx="4">
                    <c:v>Boursin Classique Fromage Frais A Tartiner Ciboulette &amp; Echalote Boite 1X150Gr 1P</c:v>
                  </c:pt>
                  <c:pt idx="5">
                    <c:v>Boursin Classique Fromage Frais A Tartiner Afh Boite 1X80Gr 1P</c:v>
                  </c:pt>
                  <c:pt idx="6">
                    <c:v>Boursin Classique Fromage Frais A Tartiner Poivre Boite 1X150Gr 1P</c:v>
                  </c:pt>
                  <c:pt idx="7">
                    <c:v>Boursin Classique Fromage Frais A Tartiner Afh Boite 1X96Gr 6P</c:v>
                  </c:pt>
                  <c:pt idx="8">
                    <c:v>Boursin Classique Fromage Frais A Tartiner Afh 1X256Gr 16P</c:v>
                  </c:pt>
                  <c:pt idx="9">
                    <c:v>Boursin Classique Fromage Frais A Tartiner Ciboulette &amp; Echalote 1X160Gr 10P</c:v>
                  </c:pt>
                  <c:pt idx="10">
                    <c:v>Boursin Classique Fromage Frais A Tartiner Afh Boite 1X250Gr 1P</c:v>
                  </c:pt>
                  <c:pt idx="11">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B154CDE-940F-4F5A-9EDA-75F532206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6B76C9C-0332-4E37-9779-502D91480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D8DA5C4-63C8-4EA4-A178-45BF9378E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F520264F-A375-42EF-B050-097E597C8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7E86FC15-0BA2-46CE-A997-920C8E734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4C0AA927-48CB-468F-9407-647693A8C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10003C2A-2E65-4FC3-A7F8-C0497726D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2D6FAA7F-5164-4DB9-8F65-C93AEB6C5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7.9508000000000001</c:v>
                </c:pt>
                <c:pt idx="1">
                  <c:v>7.3479000000000001</c:v>
                </c:pt>
              </c:numCache>
            </c:numRef>
          </c:xVal>
          <c:yVal>
            <c:numRef>
              <c:f>Sheet1!$B$2:$B$3</c:f>
              <c:numCache>
                <c:formatCode>General</c:formatCode>
                <c:ptCount val="2"/>
                <c:pt idx="0">
                  <c:v>0.36680000000000001</c:v>
                </c:pt>
                <c:pt idx="1">
                  <c:v>0.3276</c:v>
                </c:pt>
              </c:numCache>
            </c:numRef>
          </c:yVal>
          <c:bubbleSize>
            <c:numRef>
              <c:f>Sheet1!$C$2:$C$3</c:f>
              <c:numCache>
                <c:formatCode>General</c:formatCode>
                <c:ptCount val="2"/>
                <c:pt idx="0">
                  <c:v>35113509.181499988</c:v>
                </c:pt>
                <c:pt idx="1">
                  <c:v>46258778.516799979</c:v>
                </c:pt>
              </c:numCache>
            </c:numRef>
          </c:bubbleSize>
          <c:bubble3D val="0"/>
          <c:extLst>
            <c:ext xmlns:c15="http://schemas.microsoft.com/office/drawing/2012/chart" uri="{02D57815-91ED-43cb-92C2-25804820EDAC}">
              <c15:datalabelsRange>
                <c15:f>Sheet1!$E$2:$E$29</c15:f>
                <c15:dlblRangeCache>
                  <c:ptCount val="28"/>
                  <c:pt idx="0">
                    <c:v>Intermarche</c:v>
                  </c:pt>
                  <c:pt idx="1">
                    <c:v>Carrefour</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9.5409600000000001"/>
          <c:min val="5.878320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4451545855289445"/>
        <c:crossBetween val="midCat"/>
      </c:valAx>
      <c:valAx>
        <c:axId val="1011451359"/>
        <c:scaling>
          <c:orientation val="minMax"/>
          <c:max val="0.80016000000000009"/>
          <c:min val="2.2080000000000013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7.608061478610716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75B865D-A943-4AE6-9900-DEE6D1827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6A2ECB1C-E38D-4285-AF21-44CAC5162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086CF1B9-CB31-41C6-80DD-D0F3BA290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21E0D6-3BDD-44A3-8A4F-E53345BE7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ACAA201-D9C6-441D-8200-5366DFFB2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416556D-FC0C-429B-92B3-BA29A63D7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2225DA57-1992-4387-8C40-25D887F06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A3B1B9B-BC0E-4C63-94E5-39BABD5B4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38F6E186-1E3A-46B3-A28C-544A7829B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310CBB0-C4F4-49B3-8C29-F19808E35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650F8B07-009F-4DA4-9DBF-A934BBB1B6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3A20C291-5BD9-48B4-8D59-A77C37A76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6757350C-2C27-4E79-8D0F-BFAE6D892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AE850C95-1D1B-468E-AE45-0E2800725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ADE32D26-6BE6-4A35-B87B-8885610BD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1EECFAB1-CD20-427D-8B9F-B45FD588F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DEB61435-01F9-4863-BDA4-6DAE3158B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ABF2A33B-FE5B-4711-BBAB-B08E02260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6EA5EDE9-F9AC-4EFD-AC4C-F9ECA814E0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2706E6D2-C15E-4EA4-849A-46B2D8AD7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E27E4C38-814A-4A90-A319-02BD0F07B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D20CB2CB-053F-4617-ACAF-AB896F8F9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3902DB9C-FFD8-4ECB-BF1F-B3EF39E41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AA1DDC37-53D3-47AA-9B48-4F78109B7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FD6D1FFE-0CC8-4777-9943-51A1B5E15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4540724D-40AE-43B2-825A-E9993803E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A5F87B57-2976-43E2-BAC3-6E7AD9649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87FF1F9-C158-4DAF-A5E9-EB8AE0AD4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502AE5C1-E2FB-4FA6-A4F9-F91C393C4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500F2A9E-54CA-488C-A80D-63F5A1F68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1C3513F8-31C5-4AFF-A749-E0B40EC114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0368CFE9-553C-4C4C-A241-286193C03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3F9FEEF6-731C-4D9F-8328-C2EBBA1FB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74809176-053F-4B62-AE2B-30C0474CD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FE63AF54-D306-40A8-B075-45334B952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0B62D4CE-82E3-402E-8A62-C9AF02D1A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C66A44D2-0088-4DD2-9EF9-3DEC15B6F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38C823A4-7DFC-45A1-B825-E1A371693C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7895253B-3FF6-4723-AF18-4F20AD2F9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892FF785-20C4-4047-A332-88468DC8B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6DB0D2C8-EE52-4B60-BA41-1167C0A64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265CE3FC-C9F7-4D75-BBD2-20CB5499D1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65BFBB8F-FCF1-4F57-97FE-339E6D966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9F59BBBC-C9AF-4471-8E86-D25D2A46E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222C0B41-8CFF-42BF-8E84-DD3EA7E7B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9E744146-86F7-430B-87A1-E1655FFA9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9E12AB0-9205-49B5-BBFE-4F86DFC6B7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7D4EEC5-E7CC-406D-BD84-1641AFAEBE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0332DBE6-E055-43EF-AADE-1417FF42E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BFA1E305-AF0E-4A6B-935C-1C1935B3B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A398B303-381D-40CA-ACF0-A18F86854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93A6A74-CD8C-4296-B23C-2667A97A2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7BAD41D5-3581-40B9-804D-C5BE18444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A2E41AB0-B1B6-42AA-8B4E-68D424AE3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D386BEF7-F51A-48EE-825B-AA0277FC9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0B717ED-5A0A-41B4-861D-E30DCB04E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D17DC4C-FAB0-40DE-AEB8-A15BD7762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3430000000000002</c:v>
                </c:pt>
                <c:pt idx="1">
                  <c:v>0.38550000000000001</c:v>
                </c:pt>
                <c:pt idx="2">
                  <c:v>0.36380000000000001</c:v>
                </c:pt>
                <c:pt idx="3">
                  <c:v>0.42049999999999998</c:v>
                </c:pt>
                <c:pt idx="4">
                  <c:v>0.4869</c:v>
                </c:pt>
                <c:pt idx="5">
                  <c:v>0.47799999999999998</c:v>
                </c:pt>
              </c:numCache>
            </c:numRef>
          </c:xVal>
          <c:yVal>
            <c:numRef>
              <c:f>Sheet1!$B$2:$B$7</c:f>
              <c:numCache>
                <c:formatCode>General</c:formatCode>
                <c:ptCount val="6"/>
                <c:pt idx="0">
                  <c:v>0.31180000000000002</c:v>
                </c:pt>
                <c:pt idx="1">
                  <c:v>0.30990000000000001</c:v>
                </c:pt>
                <c:pt idx="2">
                  <c:v>0.35339999999999999</c:v>
                </c:pt>
                <c:pt idx="3">
                  <c:v>0.27829999999999999</c:v>
                </c:pt>
                <c:pt idx="4">
                  <c:v>0.1988</c:v>
                </c:pt>
                <c:pt idx="5">
                  <c:v>0.26779999999999998</c:v>
                </c:pt>
              </c:numCache>
            </c:numRef>
          </c:yVal>
          <c:bubbleSize>
            <c:numRef>
              <c:f>Sheet1!$C$2:$C$7</c:f>
              <c:numCache>
                <c:formatCode>General</c:formatCode>
                <c:ptCount val="6"/>
                <c:pt idx="0">
                  <c:v>11293.564049586779</c:v>
                </c:pt>
                <c:pt idx="1">
                  <c:v>2199.2426035502958</c:v>
                </c:pt>
                <c:pt idx="2">
                  <c:v>1098.2067247820671</c:v>
                </c:pt>
                <c:pt idx="3">
                  <c:v>3335.8687727825031</c:v>
                </c:pt>
                <c:pt idx="4">
                  <c:v>1614.075757575758</c:v>
                </c:pt>
                <c:pt idx="5">
                  <c:v>1111.304347826087</c:v>
                </c:pt>
              </c:numCache>
            </c:numRef>
          </c:bubbleSize>
          <c:bubble3D val="0"/>
          <c:extLst>
            <c:ext xmlns:c15="http://schemas.microsoft.com/office/drawing/2012/chart" uri="{02D57815-91ED-43cb-92C2-25804820EDAC}">
              <c15:datalabelsRange>
                <c15:f>Sheet1!$E$2:$E$58</c15:f>
                <c15:dlblRangeCache>
                  <c:ptCount val="57"/>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el Boursin Salade &amp; Aperitif Soft Cheese Salade 1 Ct X 1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2896613-148F-4A13-9F30-8D51A04B6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9EEC27F-2D07-427B-8BA5-AAC719DD1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6C24DFB-09D5-4344-9E7E-F06683829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D53ADD62-5CF1-464C-AF13-D7B2E049B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A2A6490E-1C8B-4E24-942E-BC8C89192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E23FCB86-B9B1-4EF6-8EE4-09FEA78CE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992DCF5A-DFB7-4CDA-89CB-041932B0A4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CF72A253-0CC8-4CE4-8A17-21FD00CE9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8.7268000000000008</c:v>
                </c:pt>
                <c:pt idx="1">
                  <c:v>8.1988000000000003</c:v>
                </c:pt>
              </c:numCache>
            </c:numRef>
          </c:xVal>
          <c:yVal>
            <c:numRef>
              <c:f>Sheet1!$B$2:$B$3</c:f>
              <c:numCache>
                <c:formatCode>General</c:formatCode>
                <c:ptCount val="2"/>
                <c:pt idx="0">
                  <c:v>0.3664</c:v>
                </c:pt>
                <c:pt idx="1">
                  <c:v>0.34770000000000001</c:v>
                </c:pt>
              </c:numCache>
            </c:numRef>
          </c:yVal>
          <c:bubbleSize>
            <c:numRef>
              <c:f>Sheet1!$C$2:$C$3</c:f>
              <c:numCache>
                <c:formatCode>General</c:formatCode>
                <c:ptCount val="2"/>
                <c:pt idx="0">
                  <c:v>61071126.188300058</c:v>
                </c:pt>
                <c:pt idx="1">
                  <c:v>72359420.695899993</c:v>
                </c:pt>
              </c:numCache>
            </c:numRef>
          </c:bubbleSize>
          <c:bubble3D val="0"/>
          <c:extLst>
            <c:ext xmlns:c15="http://schemas.microsoft.com/office/drawing/2012/chart" uri="{02D57815-91ED-43cb-92C2-25804820EDAC}">
              <c15:datalabelsRange>
                <c15:f>Sheet1!$E$2:$E$29</c15:f>
                <c15:dlblRangeCache>
                  <c:ptCount val="28"/>
                  <c:pt idx="0">
                    <c:v>Intermarche</c:v>
                  </c:pt>
                  <c:pt idx="1">
                    <c:v>Carrefour</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0.472160000000001"/>
          <c:min val="6.559040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5625898507792475"/>
        <c:crossBetween val="midCat"/>
      </c:valAx>
      <c:valAx>
        <c:axId val="1011451359"/>
        <c:scaling>
          <c:orientation val="minMax"/>
          <c:max val="0.79967999999999995"/>
          <c:min val="3.81600000000000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440465461023759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BBFDC00-8A54-4923-9A18-998CB2119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9230124-8105-4AD3-98BA-82323E512F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0B2A4AA-65DF-41D1-B72A-2FE6D9356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14F38A1A-0F7B-4CA0-870E-F34535A98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904891B5-0BD0-47C0-86B3-D573F4A0A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2A0DD3D5-2604-4BDB-B53E-9D7D4633E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6D8217B6-9795-46C8-BED7-446FA637E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61309048-A980-4FB8-A10B-3085E82EB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598699999999999</c:v>
                </c:pt>
                <c:pt idx="1">
                  <c:v>10.4503</c:v>
                </c:pt>
              </c:numCache>
            </c:numRef>
          </c:xVal>
          <c:yVal>
            <c:numRef>
              <c:f>Sheet1!$B$2:$B$3</c:f>
              <c:numCache>
                <c:formatCode>General</c:formatCode>
                <c:ptCount val="2"/>
                <c:pt idx="0">
                  <c:v>0.30159999999999998</c:v>
                </c:pt>
                <c:pt idx="1">
                  <c:v>0.29089999999999999</c:v>
                </c:pt>
              </c:numCache>
            </c:numRef>
          </c:yVal>
          <c:bubbleSize>
            <c:numRef>
              <c:f>Sheet1!$C$2:$C$3</c:f>
              <c:numCache>
                <c:formatCode>General</c:formatCode>
                <c:ptCount val="2"/>
                <c:pt idx="0">
                  <c:v>973026.30259999959</c:v>
                </c:pt>
                <c:pt idx="1">
                  <c:v>1789388.1998999999</c:v>
                </c:pt>
              </c:numCache>
            </c:numRef>
          </c:bubbleSize>
          <c:bubble3D val="0"/>
          <c:extLst>
            <c:ext xmlns:c15="http://schemas.microsoft.com/office/drawing/2012/chart" uri="{02D57815-91ED-43cb-92C2-25804820EDAC}">
              <c15:datalabelsRange>
                <c15:f>Sheet1!$E$2:$E$29</c15:f>
                <c15:dlblRangeCache>
                  <c:ptCount val="28"/>
                  <c:pt idx="0">
                    <c:v>Intermarche</c:v>
                  </c:pt>
                  <c:pt idx="1">
                    <c:v>Carrefour</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718439999999999"/>
          <c:min val="8.36024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2946689425060568"/>
        <c:crossBetween val="midCat"/>
      </c:valAx>
      <c:valAx>
        <c:axId val="1011451359"/>
        <c:scaling>
          <c:orientation val="minMax"/>
          <c:max val="0.7219199999999999"/>
          <c:min val="-7.2799999999999983E-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5025720624204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0192E9F-724C-42EE-B14D-CD4766B60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62C7ABA-455C-4161-AA6E-D625789A6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6338F15-BFE2-4B04-A318-D4134B20C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D7948C62-28E3-42A8-B2FB-08D5D2D5C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09CD9260-9F04-4797-9D51-5A1225CBF1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61D2CE01-B96F-4D50-B78F-F2D0AF345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AE3C9075-65DF-4998-A642-A2AD087E6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7FE530DB-79DA-4B32-902E-7F6496B06B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8.1258999999999997</c:v>
                </c:pt>
                <c:pt idx="1">
                  <c:v>7.6771000000000003</c:v>
                </c:pt>
              </c:numCache>
            </c:numRef>
          </c:xVal>
          <c:yVal>
            <c:numRef>
              <c:f>Sheet1!$B$2:$B$3</c:f>
              <c:numCache>
                <c:formatCode>General</c:formatCode>
                <c:ptCount val="2"/>
                <c:pt idx="0">
                  <c:v>0.34860000000000002</c:v>
                </c:pt>
                <c:pt idx="1">
                  <c:v>0.32840000000000003</c:v>
                </c:pt>
              </c:numCache>
            </c:numRef>
          </c:yVal>
          <c:bubbleSize>
            <c:numRef>
              <c:f>Sheet1!$C$2:$C$3</c:f>
              <c:numCache>
                <c:formatCode>General</c:formatCode>
                <c:ptCount val="2"/>
                <c:pt idx="0">
                  <c:v>44597994.851499997</c:v>
                </c:pt>
                <c:pt idx="1">
                  <c:v>56474608.470199987</c:v>
                </c:pt>
              </c:numCache>
            </c:numRef>
          </c:bubbleSize>
          <c:bubble3D val="0"/>
          <c:extLst>
            <c:ext xmlns:c15="http://schemas.microsoft.com/office/drawing/2012/chart" uri="{02D57815-91ED-43cb-92C2-25804820EDAC}">
              <c15:datalabelsRange>
                <c15:f>Sheet1!$E$2:$E$29</c15:f>
                <c15:dlblRangeCache>
                  <c:ptCount val="28"/>
                  <c:pt idx="0">
                    <c:v>Intermarche</c:v>
                  </c:pt>
                  <c:pt idx="1">
                    <c:v>Carrefour</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9.75108"/>
          <c:min val="6.1416800000000009"/>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3731319176901908"/>
        <c:crossBetween val="midCat"/>
      </c:valAx>
      <c:valAx>
        <c:axId val="1011451359"/>
        <c:scaling>
          <c:orientation val="minMax"/>
          <c:max val="0.77832000000000001"/>
          <c:min val="2.2720000000000032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7.87513170623444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3DD83E0-AF6C-4937-BC7C-BA590191F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B8D745D-E9FD-4D5C-8AF8-67950641B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2F11105-D517-4360-A588-2A1784E72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C264E083-05B7-4376-8C33-094EDCD0F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22C2FDB3-C7AE-427E-9B59-1459BD139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486F1C28-0A7F-420D-9711-C5E74C4F8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31C39932-984B-4473-8CBE-BF1E0D2D1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8E17B367-DA61-47D7-9EBB-53778A88E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926299999999999</c:v>
                </c:pt>
                <c:pt idx="1">
                  <c:v>10.8681</c:v>
                </c:pt>
              </c:numCache>
            </c:numRef>
          </c:xVal>
          <c:yVal>
            <c:numRef>
              <c:f>Sheet1!$B$2:$B$3</c:f>
              <c:numCache>
                <c:formatCode>General</c:formatCode>
                <c:ptCount val="2"/>
                <c:pt idx="0">
                  <c:v>0.41670000000000001</c:v>
                </c:pt>
                <c:pt idx="1">
                  <c:v>0.42020000000000002</c:v>
                </c:pt>
              </c:numCache>
            </c:numRef>
          </c:yVal>
          <c:bubbleSize>
            <c:numRef>
              <c:f>Sheet1!$C$2:$C$3</c:f>
              <c:numCache>
                <c:formatCode>General</c:formatCode>
                <c:ptCount val="2"/>
                <c:pt idx="0">
                  <c:v>16187477.137800001</c:v>
                </c:pt>
                <c:pt idx="1">
                  <c:v>15349606.8499</c:v>
                </c:pt>
              </c:numCache>
            </c:numRef>
          </c:bubbleSize>
          <c:bubble3D val="0"/>
          <c:extLst>
            <c:ext xmlns:c15="http://schemas.microsoft.com/office/drawing/2012/chart" uri="{02D57815-91ED-43cb-92C2-25804820EDAC}">
              <c15:datalabelsRange>
                <c15:f>Sheet1!$E$2:$E$29</c15:f>
                <c15:dlblRangeCache>
                  <c:ptCount val="28"/>
                  <c:pt idx="0">
                    <c:v>Intermarche</c:v>
                  </c:pt>
                  <c:pt idx="1">
                    <c:v>Carrefour</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111559999999999"/>
          <c:min val="8.694480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840350638618345"/>
        <c:crossBetween val="midCat"/>
      </c:valAx>
      <c:valAx>
        <c:axId val="1011451359"/>
        <c:scaling>
          <c:orientation val="minMax"/>
          <c:max val="0.8642399999999999"/>
          <c:min val="9.336000000000002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89797312237832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153AA99-FA11-475D-9090-17E39F088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25171A9-1A2D-4C52-A6FD-E2005D42DF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94A7C3D-2BD2-4CDD-A12A-DB74C322CA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9815D1A-3983-4D43-A7EA-FECAE5959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3ED45476-399C-46B0-9A06-4FB0A4950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E0E7A9D8-CD18-45C9-826A-DC37B0C45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FFAB4833-F1CD-4476-92EF-ECC0CA322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E4F4B23-3128-4EE1-8E19-DFE6E25F0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1258999999999997</c:v>
                </c:pt>
                <c:pt idx="1">
                  <c:v>10.926299999999999</c:v>
                </c:pt>
                <c:pt idx="2">
                  <c:v>10.1181</c:v>
                </c:pt>
              </c:numCache>
            </c:numRef>
          </c:xVal>
          <c:yVal>
            <c:numRef>
              <c:f>Sheet1!$B$2:$B$4</c:f>
              <c:numCache>
                <c:formatCode>General</c:formatCode>
                <c:ptCount val="3"/>
                <c:pt idx="0">
                  <c:v>0.34860000000000002</c:v>
                </c:pt>
                <c:pt idx="1">
                  <c:v>0.41670000000000001</c:v>
                </c:pt>
                <c:pt idx="2">
                  <c:v>0.30380000000000001</c:v>
                </c:pt>
              </c:numCache>
            </c:numRef>
          </c:yVal>
          <c:bubbleSize>
            <c:numRef>
              <c:f>Sheet1!$C$2:$C$4</c:f>
              <c:numCache>
                <c:formatCode>General</c:formatCode>
                <c:ptCount val="3"/>
                <c:pt idx="0">
                  <c:v>44597994.851499997</c:v>
                </c:pt>
                <c:pt idx="1">
                  <c:v>16187477.137800001</c:v>
                </c:pt>
                <c:pt idx="2">
                  <c:v>285654.19900000008</c:v>
                </c:pt>
              </c:numCache>
            </c:numRef>
          </c:bubbleSize>
          <c:bubble3D val="0"/>
          <c:extLst>
            <c:ext xmlns:c15="http://schemas.microsoft.com/office/drawing/2012/chart" uri="{02D57815-91ED-43cb-92C2-25804820EDAC}">
              <c15:datalabelsRange>
                <c15:f>Sheet1!$E$2:$E$29</c15:f>
                <c15:dlblRangeCache>
                  <c:ptCount val="28"/>
                  <c:pt idx="0">
                    <c:v>Soft Cheese</c:v>
                  </c:pt>
                  <c:pt idx="1">
                    <c:v>Aperitif</c:v>
                  </c:pt>
                  <c:pt idx="2">
                    <c:v>Alternative Vegetal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111559999999999"/>
          <c:min val="6.50072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644099873333796"/>
        <c:crossBetween val="midCat"/>
      </c:valAx>
      <c:valAx>
        <c:axId val="1011451359"/>
        <c:scaling>
          <c:orientation val="minMax"/>
          <c:max val="0.86004000000000003"/>
          <c:min val="3.0400000000000206E-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87749071294048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B1F2A99-8357-46CD-BCA4-4414D3EA0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9BFDAD6-EF64-4798-A773-14FCD55F2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8B8179F-F3A3-4F4E-97F4-62BC3B78E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7EE0554-0DC1-4CE3-89C2-18B4A60DA3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0DCB6329-7112-4CF2-8F73-7BEC0923F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4CE28F9C-995E-4062-85A8-8E774E7E0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9092B32-47A7-409C-89AD-5C8785836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FC39815D-3716-4F07-84A5-C88CCD9FD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6771000000000003</c:v>
                </c:pt>
                <c:pt idx="1">
                  <c:v>10.8681</c:v>
                </c:pt>
                <c:pt idx="2">
                  <c:v>9.3821999999999992</c:v>
                </c:pt>
              </c:numCache>
            </c:numRef>
          </c:xVal>
          <c:yVal>
            <c:numRef>
              <c:f>Sheet1!$B$2:$B$4</c:f>
              <c:numCache>
                <c:formatCode>General</c:formatCode>
                <c:ptCount val="3"/>
                <c:pt idx="0">
                  <c:v>0.32840000000000003</c:v>
                </c:pt>
                <c:pt idx="1">
                  <c:v>0.42020000000000002</c:v>
                </c:pt>
                <c:pt idx="2">
                  <c:v>0.3024</c:v>
                </c:pt>
              </c:numCache>
            </c:numRef>
          </c:yVal>
          <c:bubbleSize>
            <c:numRef>
              <c:f>Sheet1!$C$2:$C$4</c:f>
              <c:numCache>
                <c:formatCode>General</c:formatCode>
                <c:ptCount val="3"/>
                <c:pt idx="0">
                  <c:v>56474608.470199987</c:v>
                </c:pt>
                <c:pt idx="1">
                  <c:v>15349606.8499</c:v>
                </c:pt>
                <c:pt idx="2">
                  <c:v>535205.37579999992</c:v>
                </c:pt>
              </c:numCache>
            </c:numRef>
          </c:bubbleSize>
          <c:bubble3D val="0"/>
          <c:extLst>
            <c:ext xmlns:c15="http://schemas.microsoft.com/office/drawing/2012/chart" uri="{02D57815-91ED-43cb-92C2-25804820EDAC}">
              <c15:datalabelsRange>
                <c15:f>Sheet1!$E$2:$E$29</c15:f>
                <c15:dlblRangeCache>
                  <c:ptCount val="28"/>
                  <c:pt idx="0">
                    <c:v>Soft Cheese</c:v>
                  </c:pt>
                  <c:pt idx="1">
                    <c:v>Aperitif</c:v>
                  </c:pt>
                  <c:pt idx="2">
                    <c:v>Alternative Vegetal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04172"/>
          <c:min val="6.1416800000000009"/>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4768122911477478"/>
        <c:crossBetween val="midCat"/>
      </c:valAx>
      <c:valAx>
        <c:axId val="1011451359"/>
        <c:scaling>
          <c:orientation val="minMax"/>
          <c:max val="0.8642399999999999"/>
          <c:min val="1.9200000000000107E-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366618706264802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3F7CA8C-D8D2-40ED-98FD-7F6704584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7391568-C848-4187-9F58-19123DFF1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15EF1C4-0429-4BF7-AEB8-B1F2C9743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0B9869F-B409-4F62-9940-B221534A0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46883BB-B7B7-4951-B47D-889BF9397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930ADC0-CC52-4569-97C7-147021E2D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011C284F-4A6C-4FFE-AEBF-53877BC35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5F7DEE5C-E536-4E62-BAA5-42497D5AC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8.6828000000000003</c:v>
                </c:pt>
                <c:pt idx="1">
                  <c:v>10.926299999999999</c:v>
                </c:pt>
                <c:pt idx="2">
                  <c:v>7.9508000000000001</c:v>
                </c:pt>
                <c:pt idx="3">
                  <c:v>10.1181</c:v>
                </c:pt>
                <c:pt idx="4">
                  <c:v>10.598699999999999</c:v>
                </c:pt>
              </c:numCache>
            </c:numRef>
          </c:xVal>
          <c:yVal>
            <c:numRef>
              <c:f>Sheet1!$B$2:$B$6</c:f>
              <c:numCache>
                <c:formatCode>General</c:formatCode>
                <c:ptCount val="5"/>
                <c:pt idx="0">
                  <c:v>0.27879999999999999</c:v>
                </c:pt>
                <c:pt idx="1">
                  <c:v>0.41670000000000001</c:v>
                </c:pt>
                <c:pt idx="2">
                  <c:v>0.36680000000000001</c:v>
                </c:pt>
                <c:pt idx="3">
                  <c:v>0.30380000000000001</c:v>
                </c:pt>
                <c:pt idx="4">
                  <c:v>0.30159999999999998</c:v>
                </c:pt>
              </c:numCache>
            </c:numRef>
          </c:yVal>
          <c:bubbleSize>
            <c:numRef>
              <c:f>Sheet1!$C$2:$C$6</c:f>
              <c:numCache>
                <c:formatCode>General</c:formatCode>
                <c:ptCount val="5"/>
                <c:pt idx="0">
                  <c:v>8511459.3674000036</c:v>
                </c:pt>
                <c:pt idx="1">
                  <c:v>16187477.137800001</c:v>
                </c:pt>
                <c:pt idx="2">
                  <c:v>35113509.181499973</c:v>
                </c:pt>
                <c:pt idx="3">
                  <c:v>285654.19900000008</c:v>
                </c:pt>
                <c:pt idx="4">
                  <c:v>973026.30259999936</c:v>
                </c:pt>
              </c:numCache>
            </c:numRef>
          </c:bubbleSize>
          <c:bubble3D val="0"/>
          <c:extLst>
            <c:ext xmlns:c15="http://schemas.microsoft.com/office/drawing/2012/chart" uri="{02D57815-91ED-43cb-92C2-25804820EDAC}">
              <c15:datalabelsRange>
                <c15:f>Sheet1!$E$2:$E$29</c15:f>
                <c15:dlblRangeCache>
                  <c:ptCount val="28"/>
                  <c:pt idx="0">
                    <c:v>Frais A Tartiner</c:v>
                  </c:pt>
                  <c:pt idx="1">
                    <c:v>Aperitif</c:v>
                  </c:pt>
                  <c:pt idx="2">
                    <c:v>Enfant</c:v>
                  </c:pt>
                  <c:pt idx="3">
                    <c:v>Alternative Vegetale</c:v>
                  </c:pt>
                  <c:pt idx="4">
                    <c:v>Salad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111559999999999"/>
          <c:min val="6.36064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642845216655195"/>
        <c:crossBetween val="midCat"/>
      </c:valAx>
      <c:valAx>
        <c:axId val="1011451359"/>
        <c:scaling>
          <c:orientation val="minMax"/>
          <c:max val="0.86004000000000003"/>
          <c:min val="-1.695999999999999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893828314150219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9A10C58-38E3-4C0A-91E3-56E027204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B45099A-6ABC-4EF6-8C82-FAC846267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A5C73D8-09D7-4377-A076-61B2527CC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57D7666-A7D9-4D2F-9B2A-17F8B76C2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56D0974-E23E-479A-8E91-1EE7E3BFA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37649360-3B60-46B3-BFB3-6D904F536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F04C92D9-6D5D-431B-BC55-3BEEDCD11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A269DB7D-8D19-4228-8A22-A90EDF67B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9.8108000000000004</c:v>
                </c:pt>
                <c:pt idx="1">
                  <c:v>10.5174</c:v>
                </c:pt>
                <c:pt idx="2">
                  <c:v>6.3836000000000004</c:v>
                </c:pt>
                <c:pt idx="3">
                  <c:v>7.6738999999999997</c:v>
                </c:pt>
              </c:numCache>
            </c:numRef>
          </c:xVal>
          <c:yVal>
            <c:numRef>
              <c:f>Sheet1!$B$2:$B$5</c:f>
              <c:numCache>
                <c:formatCode>General</c:formatCode>
                <c:ptCount val="4"/>
                <c:pt idx="0">
                  <c:v>0.30759999999999998</c:v>
                </c:pt>
                <c:pt idx="1">
                  <c:v>0.38519999999999999</c:v>
                </c:pt>
                <c:pt idx="2">
                  <c:v>0.30730000000000002</c:v>
                </c:pt>
                <c:pt idx="3">
                  <c:v>0.35980000000000001</c:v>
                </c:pt>
              </c:numCache>
            </c:numRef>
          </c:yVal>
          <c:bubbleSize>
            <c:numRef>
              <c:f>Sheet1!$C$2:$C$5</c:f>
              <c:numCache>
                <c:formatCode>General</c:formatCode>
                <c:ptCount val="4"/>
                <c:pt idx="0">
                  <c:v>2602970.4961999999</c:v>
                </c:pt>
                <c:pt idx="1">
                  <c:v>4167191.6750000012</c:v>
                </c:pt>
                <c:pt idx="2">
                  <c:v>4211708.1518999981</c:v>
                </c:pt>
                <c:pt idx="3">
                  <c:v>3582708.3375999988</c:v>
                </c:pt>
              </c:numCache>
            </c:numRef>
          </c:bubbleSize>
          <c:bubble3D val="0"/>
          <c:extLst>
            <c:ext xmlns:c15="http://schemas.microsoft.com/office/drawing/2012/chart" uri="{02D57815-91ED-43cb-92C2-25804820EDAC}">
              <c15:datalabelsRange>
                <c15:f>Sheet1!$E$2:$E$29</c15:f>
                <c15:dlblRangeCache>
                  <c:ptCount val="28"/>
                  <c:pt idx="0">
                    <c:v>Boursin</c:v>
                  </c:pt>
                  <c:pt idx="1">
                    <c:v>Mini Babybel</c:v>
                  </c:pt>
                  <c:pt idx="2">
                    <c:v>La Vache Qui Rit</c:v>
                  </c:pt>
                  <c:pt idx="3">
                    <c:v>Kiri</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62088"/>
          <c:min val="5.10688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4255658533061062"/>
        <c:crossBetween val="midCat"/>
      </c:valAx>
      <c:valAx>
        <c:axId val="1011451359"/>
        <c:scaling>
          <c:orientation val="minMax"/>
          <c:max val="0.82223999999999997"/>
          <c:min val="5.8400000000000231E-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496260222827075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14EA73B-FB05-42A5-93BB-644D92DF0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0FCCCA7-76CD-4EF8-894F-0DA955D7C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96E8660-A711-4BD8-AE10-0A33D3797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2451EEA-2156-4FE0-9985-20F2B10FF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D5BEF13-45C0-4EEA-B455-90537B686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11E74E7-0525-42F3-B51A-DD0352C93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22FD3752-A486-4514-8498-203F83205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7465CBDF-BB21-4C5B-BD16-85673DF3B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9.4731000000000005</c:v>
                </c:pt>
                <c:pt idx="1">
                  <c:v>10.8681</c:v>
                </c:pt>
                <c:pt idx="2">
                  <c:v>7.3479000000000001</c:v>
                </c:pt>
                <c:pt idx="3">
                  <c:v>9.3821999999999992</c:v>
                </c:pt>
                <c:pt idx="4">
                  <c:v>10.4503</c:v>
                </c:pt>
              </c:numCache>
            </c:numRef>
          </c:xVal>
          <c:yVal>
            <c:numRef>
              <c:f>Sheet1!$B$2:$B$6</c:f>
              <c:numCache>
                <c:formatCode>General</c:formatCode>
                <c:ptCount val="5"/>
                <c:pt idx="0">
                  <c:v>0.3407</c:v>
                </c:pt>
                <c:pt idx="1">
                  <c:v>0.42020000000000002</c:v>
                </c:pt>
                <c:pt idx="2">
                  <c:v>0.3276</c:v>
                </c:pt>
                <c:pt idx="3">
                  <c:v>0.3024</c:v>
                </c:pt>
                <c:pt idx="4">
                  <c:v>0.29089999999999999</c:v>
                </c:pt>
              </c:numCache>
            </c:numRef>
          </c:yVal>
          <c:bubbleSize>
            <c:numRef>
              <c:f>Sheet1!$C$2:$C$6</c:f>
              <c:numCache>
                <c:formatCode>General</c:formatCode>
                <c:ptCount val="5"/>
                <c:pt idx="0">
                  <c:v>8426441.7535000127</c:v>
                </c:pt>
                <c:pt idx="1">
                  <c:v>15349606.8499</c:v>
                </c:pt>
                <c:pt idx="2">
                  <c:v>46258778.516799979</c:v>
                </c:pt>
                <c:pt idx="3">
                  <c:v>535205.37579999992</c:v>
                </c:pt>
                <c:pt idx="4">
                  <c:v>1789388.1998999999</c:v>
                </c:pt>
              </c:numCache>
            </c:numRef>
          </c:bubbleSize>
          <c:bubble3D val="0"/>
          <c:extLst>
            <c:ext xmlns:c15="http://schemas.microsoft.com/office/drawing/2012/chart" uri="{02D57815-91ED-43cb-92C2-25804820EDAC}">
              <c15:datalabelsRange>
                <c15:f>Sheet1!$E$2:$E$29</c15:f>
                <c15:dlblRangeCache>
                  <c:ptCount val="28"/>
                  <c:pt idx="0">
                    <c:v>Frais A Tartiner</c:v>
                  </c:pt>
                  <c:pt idx="1">
                    <c:v>Aperitif</c:v>
                  </c:pt>
                  <c:pt idx="2">
                    <c:v>Enfant</c:v>
                  </c:pt>
                  <c:pt idx="3">
                    <c:v>Alternative Vegetale</c:v>
                  </c:pt>
                  <c:pt idx="4">
                    <c:v>Salade</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04172"/>
          <c:min val="5.878320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476748187989212"/>
        <c:crossBetween val="midCat"/>
      </c:valAx>
      <c:valAx>
        <c:axId val="1011451359"/>
        <c:scaling>
          <c:orientation val="minMax"/>
          <c:max val="0.8642399999999999"/>
          <c:min val="-7.2799999999999983E-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433891644753016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E80E3EB-1D55-4014-9D9E-0B1804EB5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6A27641-9306-443B-BCB3-60B9CDB22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C577DFF-2728-4A58-87B5-319B23697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300C612-C58D-448E-ADFB-2C2B6C248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206728A-F08A-426A-99F8-06CBA2E77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57B0852-5279-4D26-B923-93D5424C4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026DA140-6C1D-40B8-84D1-8C985754E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295F82D-88B9-4A0D-A248-99DA4E516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8.9925</c:v>
                </c:pt>
                <c:pt idx="1">
                  <c:v>19.014299999999999</c:v>
                </c:pt>
                <c:pt idx="2">
                  <c:v>18.106000000000002</c:v>
                </c:pt>
                <c:pt idx="3">
                  <c:v>21.960999999999999</c:v>
                </c:pt>
                <c:pt idx="4">
                  <c:v>18.138400000000001</c:v>
                </c:pt>
              </c:numCache>
            </c:numRef>
          </c:xVal>
          <c:yVal>
            <c:numRef>
              <c:f>Sheet1!$B$2:$B$6</c:f>
              <c:numCache>
                <c:formatCode>General</c:formatCode>
                <c:ptCount val="5"/>
                <c:pt idx="0">
                  <c:v>0.26950000000000002</c:v>
                </c:pt>
                <c:pt idx="1">
                  <c:v>0.18890000000000001</c:v>
                </c:pt>
                <c:pt idx="2">
                  <c:v>0.2384</c:v>
                </c:pt>
                <c:pt idx="3">
                  <c:v>0.34350000000000003</c:v>
                </c:pt>
                <c:pt idx="4">
                  <c:v>0.17460000000000001</c:v>
                </c:pt>
              </c:numCache>
            </c:numRef>
          </c:yVal>
          <c:bubbleSize>
            <c:numRef>
              <c:f>Sheet1!$C$2:$C$6</c:f>
              <c:numCache>
                <c:formatCode>General</c:formatCode>
                <c:ptCount val="5"/>
                <c:pt idx="0">
                  <c:v>1226990.7849000001</c:v>
                </c:pt>
                <c:pt idx="1">
                  <c:v>370190.26640000002</c:v>
                </c:pt>
                <c:pt idx="2">
                  <c:v>714931.66359999997</c:v>
                </c:pt>
                <c:pt idx="3">
                  <c:v>41023.239699999998</c:v>
                </c:pt>
                <c:pt idx="4">
                  <c:v>26373.204000000002</c:v>
                </c:pt>
              </c:numCache>
            </c:numRef>
          </c:bubbleSize>
          <c:bubble3D val="0"/>
          <c:extLst>
            <c:ext xmlns:c15="http://schemas.microsoft.com/office/drawing/2012/chart" uri="{02D57815-91ED-43cb-92C2-25804820EDAC}">
              <c15:datalabelsRange>
                <c15:f>Sheet1!$E$2:$E$29</c15:f>
                <c15:dlblRangeCache>
                  <c:ptCount val="28"/>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el Boursin Aperitif Roules Aperitif Aperitif 1 Ct X 100Gr</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6.353199999999998"/>
          <c:min val="14.48480000000000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2478405719010037"/>
        <c:crossBetween val="midCat"/>
      </c:valAx>
      <c:valAx>
        <c:axId val="1011451359"/>
        <c:scaling>
          <c:orientation val="minMax"/>
          <c:max val="0.77219999999999989"/>
          <c:min val="-0.10031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8.77125074085842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006C6D"/>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C00000"/>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006C6D"/>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3032-4C8A-BE7E-0D5F6CEBA54F}"/>
              </c:ext>
            </c:extLst>
          </c:dPt>
          <c:dPt>
            <c:idx val="13"/>
            <c:invertIfNegative val="1"/>
            <c:bubble3D val="0"/>
            <c:spPr>
              <a:solidFill>
                <a:srgbClr val="006C6D"/>
              </a:solidFill>
            </c:spPr>
            <c:extLst>
              <c:ext xmlns:c16="http://schemas.microsoft.com/office/drawing/2014/chart" uri="{C3380CC4-5D6E-409C-BE32-E72D297353CC}">
                <c16:uniqueId val="{0000001B-3032-4C8A-BE7E-0D5F6CEBA54F}"/>
              </c:ext>
            </c:extLst>
          </c:dPt>
          <c:dPt>
            <c:idx val="14"/>
            <c:invertIfNegative val="1"/>
            <c:bubble3D val="0"/>
            <c:spPr>
              <a:solidFill>
                <a:srgbClr val="C00000"/>
              </a:solidFill>
            </c:spPr>
            <c:extLst>
              <c:ext xmlns:c16="http://schemas.microsoft.com/office/drawing/2014/chart" uri="{C3380CC4-5D6E-409C-BE32-E72D297353CC}">
                <c16:uniqueId val="{0000001D-3032-4C8A-BE7E-0D5F6CEBA54F}"/>
              </c:ext>
            </c:extLst>
          </c:dPt>
          <c:dPt>
            <c:idx val="15"/>
            <c:invertIfNegative val="1"/>
            <c:bubble3D val="0"/>
            <c:spPr>
              <a:solidFill>
                <a:srgbClr val="006C6D"/>
              </a:solidFill>
            </c:spPr>
            <c:extLst>
              <c:ext xmlns:c16="http://schemas.microsoft.com/office/drawing/2014/chart" uri="{C3380CC4-5D6E-409C-BE32-E72D297353CC}">
                <c16:uniqueId val="{0000001F-3032-4C8A-BE7E-0D5F6CEBA54F}"/>
              </c:ext>
            </c:extLst>
          </c:dPt>
          <c:dPt>
            <c:idx val="16"/>
            <c:invertIfNegative val="1"/>
            <c:bubble3D val="0"/>
            <c:spPr>
              <a:solidFill>
                <a:srgbClr val="006C6D"/>
              </a:solidFill>
            </c:spPr>
            <c:extLst>
              <c:ext xmlns:c16="http://schemas.microsoft.com/office/drawing/2014/chart" uri="{C3380CC4-5D6E-409C-BE32-E72D297353CC}">
                <c16:uniqueId val="{00000021-3032-4C8A-BE7E-0D5F6CEBA54F}"/>
              </c:ext>
            </c:extLst>
          </c:dPt>
          <c:dPt>
            <c:idx val="17"/>
            <c:invertIfNegative val="1"/>
            <c:bubble3D val="0"/>
            <c:spPr>
              <a:solidFill>
                <a:srgbClr val="006C6D"/>
              </a:solidFill>
            </c:spPr>
            <c:extLst>
              <c:ext xmlns:c16="http://schemas.microsoft.com/office/drawing/2014/chart" uri="{C3380CC4-5D6E-409C-BE32-E72D297353CC}">
                <c16:uniqueId val="{00000023-3032-4C8A-BE7E-0D5F6CEBA54F}"/>
              </c:ext>
            </c:extLst>
          </c:dPt>
          <c:dPt>
            <c:idx val="18"/>
            <c:invertIfNegative val="1"/>
            <c:bubble3D val="0"/>
            <c:spPr>
              <a:solidFill>
                <a:srgbClr val="006C6D"/>
              </a:solidFill>
            </c:spPr>
            <c:extLst>
              <c:ext xmlns:c16="http://schemas.microsoft.com/office/drawing/2014/chart" uri="{C3380CC4-5D6E-409C-BE32-E72D297353CC}">
                <c16:uniqueId val="{00000025-3032-4C8A-BE7E-0D5F6CEBA54F}"/>
              </c:ext>
            </c:extLst>
          </c:dPt>
          <c:dPt>
            <c:idx val="19"/>
            <c:invertIfNegative val="1"/>
            <c:bubble3D val="0"/>
            <c:spPr>
              <a:solidFill>
                <a:srgbClr val="C00000"/>
              </a:solidFill>
            </c:spPr>
            <c:extLst>
              <c:ext xmlns:c16="http://schemas.microsoft.com/office/drawing/2014/chart" uri="{C3380CC4-5D6E-409C-BE32-E72D297353CC}">
                <c16:uniqueId val="{00000027-3032-4C8A-BE7E-0D5F6CEBA54F}"/>
              </c:ext>
            </c:extLst>
          </c:dPt>
          <c:dPt>
            <c:idx val="20"/>
            <c:invertIfNegative val="1"/>
            <c:bubble3D val="0"/>
            <c:spPr>
              <a:solidFill>
                <a:srgbClr val="006C6D"/>
              </a:solidFill>
            </c:spPr>
            <c:extLst>
              <c:ext xmlns:c16="http://schemas.microsoft.com/office/drawing/2014/chart" uri="{C3380CC4-5D6E-409C-BE32-E72D297353CC}">
                <c16:uniqueId val="{00000029-3032-4C8A-BE7E-0D5F6CEBA54F}"/>
              </c:ext>
            </c:extLst>
          </c:dPt>
          <c:dPt>
            <c:idx val="21"/>
            <c:invertIfNegative val="1"/>
            <c:bubble3D val="0"/>
            <c:spPr>
              <a:solidFill>
                <a:srgbClr val="006C6D"/>
              </a:solidFill>
            </c:spPr>
            <c:extLst>
              <c:ext xmlns:c16="http://schemas.microsoft.com/office/drawing/2014/chart" uri="{C3380CC4-5D6E-409C-BE32-E72D297353CC}">
                <c16:uniqueId val="{0000002B-3032-4C8A-BE7E-0D5F6CEBA54F}"/>
              </c:ext>
            </c:extLst>
          </c:dPt>
          <c:dPt>
            <c:idx val="22"/>
            <c:invertIfNegative val="1"/>
            <c:bubble3D val="0"/>
            <c:spPr>
              <a:solidFill>
                <a:srgbClr val="006C6D"/>
              </a:solidFill>
            </c:spPr>
            <c:extLst>
              <c:ext xmlns:c16="http://schemas.microsoft.com/office/drawing/2014/chart" uri="{C3380CC4-5D6E-409C-BE32-E72D297353CC}">
                <c16:uniqueId val="{0000002D-3032-4C8A-BE7E-0D5F6CEBA54F}"/>
              </c:ext>
            </c:extLst>
          </c:dPt>
          <c:dPt>
            <c:idx val="23"/>
            <c:invertIfNegative val="1"/>
            <c:bubble3D val="0"/>
            <c:spPr>
              <a:solidFill>
                <a:srgbClr val="006C6D"/>
              </a:solidFill>
            </c:spPr>
            <c:extLst>
              <c:ext xmlns:c16="http://schemas.microsoft.com/office/drawing/2014/chart" uri="{C3380CC4-5D6E-409C-BE32-E72D297353CC}">
                <c16:uniqueId val="{0000002F-3032-4C8A-BE7E-0D5F6CEBA54F}"/>
              </c:ext>
            </c:extLst>
          </c:dPt>
          <c:dPt>
            <c:idx val="24"/>
            <c:invertIfNegative val="1"/>
            <c:bubble3D val="0"/>
            <c:spPr>
              <a:solidFill>
                <a:srgbClr val="E6E5E5"/>
              </a:solidFill>
            </c:spPr>
            <c:extLst>
              <c:ext xmlns:c16="http://schemas.microsoft.com/office/drawing/2014/chart" uri="{C3380CC4-5D6E-409C-BE32-E72D297353CC}">
                <c16:uniqueId val="{00000031-3032-4C8A-BE7E-0D5F6CEBA54F}"/>
              </c:ext>
            </c:extLst>
          </c:dPt>
          <c:dPt>
            <c:idx val="25"/>
            <c:invertIfNegative val="1"/>
            <c:bubble3D val="0"/>
            <c:spPr>
              <a:solidFill>
                <a:srgbClr val="C00000"/>
              </a:solidFill>
            </c:spPr>
            <c:extLst>
              <c:ext xmlns:c16="http://schemas.microsoft.com/office/drawing/2014/chart" uri="{C3380CC4-5D6E-409C-BE32-E72D297353CC}">
                <c16:uniqueId val="{00000033-3032-4C8A-BE7E-0D5F6CEBA54F}"/>
              </c:ext>
            </c:extLst>
          </c:dPt>
          <c:dPt>
            <c:idx val="26"/>
            <c:invertIfNegative val="1"/>
            <c:bubble3D val="0"/>
            <c:spPr>
              <a:solidFill>
                <a:srgbClr val="006C6D"/>
              </a:solidFill>
            </c:spPr>
            <c:extLst>
              <c:ext xmlns:c16="http://schemas.microsoft.com/office/drawing/2014/chart" uri="{C3380CC4-5D6E-409C-BE32-E72D297353CC}">
                <c16:uniqueId val="{00000035-3032-4C8A-BE7E-0D5F6CEBA54F}"/>
              </c:ext>
            </c:extLst>
          </c:dPt>
          <c:dPt>
            <c:idx val="27"/>
            <c:invertIfNegative val="1"/>
            <c:bubble3D val="0"/>
            <c:spPr>
              <a:solidFill>
                <a:srgbClr val="006C6D"/>
              </a:solidFill>
            </c:spPr>
            <c:extLst>
              <c:ext xmlns:c16="http://schemas.microsoft.com/office/drawing/2014/chart" uri="{C3380CC4-5D6E-409C-BE32-E72D297353CC}">
                <c16:uniqueId val="{00000037-3032-4C8A-BE7E-0D5F6CEBA54F}"/>
              </c:ext>
            </c:extLst>
          </c:dPt>
          <c:dPt>
            <c:idx val="28"/>
            <c:invertIfNegative val="1"/>
            <c:bubble3D val="0"/>
            <c:spPr>
              <a:solidFill>
                <a:srgbClr val="FF8080"/>
              </a:solidFill>
            </c:spPr>
            <c:extLst>
              <c:ext xmlns:c16="http://schemas.microsoft.com/office/drawing/2014/chart" uri="{C3380CC4-5D6E-409C-BE32-E72D297353CC}">
                <c16:uniqueId val="{00000039-3032-4C8A-BE7E-0D5F6CEBA54F}"/>
              </c:ext>
            </c:extLst>
          </c:dPt>
          <c:dPt>
            <c:idx val="29"/>
            <c:invertIfNegative val="1"/>
            <c:bubble3D val="0"/>
            <c:spPr>
              <a:solidFill>
                <a:srgbClr val="006C6D"/>
              </a:solidFill>
            </c:spPr>
            <c:extLst>
              <c:ext xmlns:c16="http://schemas.microsoft.com/office/drawing/2014/chart" uri="{C3380CC4-5D6E-409C-BE32-E72D297353CC}">
                <c16:uniqueId val="{0000003B-3032-4C8A-BE7E-0D5F6CEBA54F}"/>
              </c:ext>
            </c:extLst>
          </c:dPt>
          <c:dPt>
            <c:idx val="30"/>
            <c:invertIfNegative val="1"/>
            <c:bubble3D val="0"/>
            <c:spPr>
              <a:solidFill>
                <a:srgbClr val="006C6D"/>
              </a:solidFill>
            </c:spPr>
            <c:extLst>
              <c:ext xmlns:c16="http://schemas.microsoft.com/office/drawing/2014/chart" uri="{C3380CC4-5D6E-409C-BE32-E72D297353CC}">
                <c16:uniqueId val="{0000003D-3032-4C8A-BE7E-0D5F6CEBA54F}"/>
              </c:ext>
            </c:extLst>
          </c:dPt>
          <c:dPt>
            <c:idx val="31"/>
            <c:invertIfNegative val="1"/>
            <c:bubble3D val="0"/>
            <c:spPr>
              <a:solidFill>
                <a:srgbClr val="006C6D"/>
              </a:solidFill>
            </c:spPr>
            <c:extLst>
              <c:ext xmlns:c16="http://schemas.microsoft.com/office/drawing/2014/chart" uri="{C3380CC4-5D6E-409C-BE32-E72D297353CC}">
                <c16:uniqueId val="{0000003F-3032-4C8A-BE7E-0D5F6CEBA54F}"/>
              </c:ext>
            </c:extLst>
          </c:dPt>
          <c:dPt>
            <c:idx val="32"/>
            <c:invertIfNegative val="1"/>
            <c:bubble3D val="0"/>
            <c:spPr>
              <a:solidFill>
                <a:srgbClr val="7ECAC4"/>
              </a:solidFill>
            </c:spPr>
            <c:extLst>
              <c:ext xmlns:c16="http://schemas.microsoft.com/office/drawing/2014/chart" uri="{C3380CC4-5D6E-409C-BE32-E72D297353CC}">
                <c16:uniqueId val="{00000041-3032-4C8A-BE7E-0D5F6CEBA54F}"/>
              </c:ext>
            </c:extLst>
          </c:dPt>
          <c:dPt>
            <c:idx val="33"/>
            <c:invertIfNegative val="1"/>
            <c:bubble3D val="0"/>
            <c:spPr>
              <a:solidFill>
                <a:srgbClr val="FF8080"/>
              </a:solidFill>
            </c:spPr>
            <c:extLst>
              <c:ext xmlns:c16="http://schemas.microsoft.com/office/drawing/2014/chart" uri="{C3380CC4-5D6E-409C-BE32-E72D297353CC}">
                <c16:uniqueId val="{00000043-3032-4C8A-BE7E-0D5F6CEBA54F}"/>
              </c:ext>
            </c:extLst>
          </c:dPt>
          <c:dPt>
            <c:idx val="34"/>
            <c:invertIfNegative val="1"/>
            <c:bubble3D val="0"/>
            <c:spPr>
              <a:solidFill>
                <a:srgbClr val="FF8080"/>
              </a:solidFill>
            </c:spPr>
            <c:extLst>
              <c:ext xmlns:c16="http://schemas.microsoft.com/office/drawing/2014/chart" uri="{C3380CC4-5D6E-409C-BE32-E72D297353CC}">
                <c16:uniqueId val="{00000045-3032-4C8A-BE7E-0D5F6CEBA54F}"/>
              </c:ext>
            </c:extLst>
          </c:dPt>
          <c:dPt>
            <c:idx val="35"/>
            <c:invertIfNegative val="1"/>
            <c:bubble3D val="0"/>
            <c:spPr>
              <a:solidFill>
                <a:srgbClr val="006C6D"/>
              </a:solidFill>
            </c:spPr>
            <c:extLst>
              <c:ext xmlns:c16="http://schemas.microsoft.com/office/drawing/2014/chart" uri="{C3380CC4-5D6E-409C-BE32-E72D297353CC}">
                <c16:uniqueId val="{00000047-3032-4C8A-BE7E-0D5F6CEBA54F}"/>
              </c:ext>
            </c:extLst>
          </c:dPt>
          <c:dPt>
            <c:idx val="36"/>
            <c:invertIfNegative val="1"/>
            <c:bubble3D val="0"/>
            <c:spPr>
              <a:solidFill>
                <a:srgbClr val="006C6D"/>
              </a:solidFill>
            </c:spPr>
            <c:extLst>
              <c:ext xmlns:c16="http://schemas.microsoft.com/office/drawing/2014/chart" uri="{C3380CC4-5D6E-409C-BE32-E72D297353CC}">
                <c16:uniqueId val="{00000049-3032-4C8A-BE7E-0D5F6CEBA54F}"/>
              </c:ext>
            </c:extLst>
          </c:dPt>
          <c:dPt>
            <c:idx val="37"/>
            <c:invertIfNegative val="1"/>
            <c:bubble3D val="0"/>
            <c:spPr>
              <a:solidFill>
                <a:srgbClr val="006C6D"/>
              </a:solidFill>
            </c:spPr>
            <c:extLst>
              <c:ext xmlns:c16="http://schemas.microsoft.com/office/drawing/2014/chart" uri="{C3380CC4-5D6E-409C-BE32-E72D297353CC}">
                <c16:uniqueId val="{0000004B-3032-4C8A-BE7E-0D5F6CEBA54F}"/>
              </c:ext>
            </c:extLst>
          </c:dPt>
          <c:dPt>
            <c:idx val="38"/>
            <c:invertIfNegative val="1"/>
            <c:bubble3D val="0"/>
            <c:spPr>
              <a:solidFill>
                <a:srgbClr val="006C6D"/>
              </a:solidFill>
            </c:spPr>
            <c:extLst>
              <c:ext xmlns:c16="http://schemas.microsoft.com/office/drawing/2014/chart" uri="{C3380CC4-5D6E-409C-BE32-E72D297353CC}">
                <c16:uniqueId val="{0000004D-3032-4C8A-BE7E-0D5F6CEBA54F}"/>
              </c:ext>
            </c:extLst>
          </c:dPt>
          <c:dPt>
            <c:idx val="39"/>
            <c:invertIfNegative val="1"/>
            <c:bubble3D val="0"/>
            <c:spPr>
              <a:solidFill>
                <a:srgbClr val="C00000"/>
              </a:solidFill>
            </c:spPr>
            <c:extLst>
              <c:ext xmlns:c16="http://schemas.microsoft.com/office/drawing/2014/chart" uri="{C3380CC4-5D6E-409C-BE32-E72D297353CC}">
                <c16:uniqueId val="{0000004F-3032-4C8A-BE7E-0D5F6CEBA54F}"/>
              </c:ext>
            </c:extLst>
          </c:dPt>
          <c:dPt>
            <c:idx val="40"/>
            <c:invertIfNegative val="1"/>
            <c:bubble3D val="0"/>
            <c:spPr>
              <a:solidFill>
                <a:srgbClr val="C00000"/>
              </a:solidFill>
            </c:spPr>
            <c:extLst>
              <c:ext xmlns:c16="http://schemas.microsoft.com/office/drawing/2014/chart" uri="{C3380CC4-5D6E-409C-BE32-E72D297353CC}">
                <c16:uniqueId val="{00000051-3032-4C8A-BE7E-0D5F6CEBA54F}"/>
              </c:ext>
            </c:extLst>
          </c:dPt>
          <c:dPt>
            <c:idx val="41"/>
            <c:invertIfNegative val="1"/>
            <c:bubble3D val="0"/>
            <c:spPr>
              <a:solidFill>
                <a:srgbClr val="C00000"/>
              </a:solidFill>
            </c:spPr>
            <c:extLst>
              <c:ext xmlns:c16="http://schemas.microsoft.com/office/drawing/2014/chart" uri="{C3380CC4-5D6E-409C-BE32-E72D297353CC}">
                <c16:uniqueId val="{00000053-3032-4C8A-BE7E-0D5F6CEBA54F}"/>
              </c:ext>
            </c:extLst>
          </c:dPt>
          <c:dLbls>
            <c:dLbl>
              <c:idx val="0"/>
              <c:tx>
                <c:rich>
                  <a:bodyPr/>
                  <a:lstStyle/>
                  <a:p>
                    <a:fld id="{6C8504FD-CB34-48D3-8EA6-82E643621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4513757-123A-41E2-9FC5-5CE095A4B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F0EE7F9-5713-4351-9888-EB39969B0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39B8CCD-F051-4E67-8A93-9AFA005B7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CB25066-C086-4849-A0E2-A2574F58B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58AF4D7-9C6D-4712-8082-7808FA6C2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B9B531A-41E3-48CD-93DF-95A5F49CD3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2F5D904-38A2-4F35-9E05-FE5F52FDD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AA33D5A9-E763-47E1-BA5B-BC23B127F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3B2CFB0D-5081-4C7F-B6B7-FD89C35B4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9E3AF19F-016C-46C9-B15C-517D2BA3D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C7D168C3-600E-4A2E-BD3E-DDD905B68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3C75E97C-F177-4CF1-934D-32E17E408A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3032-4C8A-BE7E-0D5F6CEBA54F}"/>
                </c:ext>
              </c:extLst>
            </c:dLbl>
            <c:dLbl>
              <c:idx val="13"/>
              <c:tx>
                <c:rich>
                  <a:bodyPr/>
                  <a:lstStyle/>
                  <a:p>
                    <a:fld id="{76C362C4-C44B-4269-9E0E-689E73509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3032-4C8A-BE7E-0D5F6CEBA54F}"/>
                </c:ext>
              </c:extLst>
            </c:dLbl>
            <c:dLbl>
              <c:idx val="14"/>
              <c:tx>
                <c:rich>
                  <a:bodyPr/>
                  <a:lstStyle/>
                  <a:p>
                    <a:fld id="{8A327F19-A2A3-4654-8E09-769230E3F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3032-4C8A-BE7E-0D5F6CEBA54F}"/>
                </c:ext>
              </c:extLst>
            </c:dLbl>
            <c:dLbl>
              <c:idx val="15"/>
              <c:tx>
                <c:rich>
                  <a:bodyPr/>
                  <a:lstStyle/>
                  <a:p>
                    <a:fld id="{B6A6079E-D34E-4B68-9484-9CD5626C1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032-4C8A-BE7E-0D5F6CEBA54F}"/>
                </c:ext>
              </c:extLst>
            </c:dLbl>
            <c:dLbl>
              <c:idx val="16"/>
              <c:tx>
                <c:rich>
                  <a:bodyPr/>
                  <a:lstStyle/>
                  <a:p>
                    <a:fld id="{2B8283F3-22A3-414B-8400-BE68798D1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032-4C8A-BE7E-0D5F6CEBA54F}"/>
                </c:ext>
              </c:extLst>
            </c:dLbl>
            <c:dLbl>
              <c:idx val="17"/>
              <c:tx>
                <c:rich>
                  <a:bodyPr/>
                  <a:lstStyle/>
                  <a:p>
                    <a:fld id="{1316E4C6-5ABD-44C4-BC05-F442312364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032-4C8A-BE7E-0D5F6CEBA54F}"/>
                </c:ext>
              </c:extLst>
            </c:dLbl>
            <c:dLbl>
              <c:idx val="18"/>
              <c:tx>
                <c:rich>
                  <a:bodyPr/>
                  <a:lstStyle/>
                  <a:p>
                    <a:fld id="{69981EC5-B919-4BF3-AADD-306893A9E2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032-4C8A-BE7E-0D5F6CEBA54F}"/>
                </c:ext>
              </c:extLst>
            </c:dLbl>
            <c:dLbl>
              <c:idx val="19"/>
              <c:tx>
                <c:rich>
                  <a:bodyPr/>
                  <a:lstStyle/>
                  <a:p>
                    <a:fld id="{F1C723AC-AA38-42C2-8BB8-7A494D54B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032-4C8A-BE7E-0D5F6CEBA54F}"/>
                </c:ext>
              </c:extLst>
            </c:dLbl>
            <c:dLbl>
              <c:idx val="20"/>
              <c:tx>
                <c:rich>
                  <a:bodyPr/>
                  <a:lstStyle/>
                  <a:p>
                    <a:fld id="{6D375AD3-D47B-458C-8FF8-99D785CC9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3032-4C8A-BE7E-0D5F6CEBA54F}"/>
                </c:ext>
              </c:extLst>
            </c:dLbl>
            <c:dLbl>
              <c:idx val="21"/>
              <c:tx>
                <c:rich>
                  <a:bodyPr/>
                  <a:lstStyle/>
                  <a:p>
                    <a:fld id="{F5CDF765-7959-4C45-9270-9812C392B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3032-4C8A-BE7E-0D5F6CEBA54F}"/>
                </c:ext>
              </c:extLst>
            </c:dLbl>
            <c:dLbl>
              <c:idx val="22"/>
              <c:tx>
                <c:rich>
                  <a:bodyPr/>
                  <a:lstStyle/>
                  <a:p>
                    <a:fld id="{8EEE1131-0AED-4C1F-AC5C-94A78B01A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3032-4C8A-BE7E-0D5F6CEBA54F}"/>
                </c:ext>
              </c:extLst>
            </c:dLbl>
            <c:dLbl>
              <c:idx val="23"/>
              <c:tx>
                <c:rich>
                  <a:bodyPr/>
                  <a:lstStyle/>
                  <a:p>
                    <a:fld id="{3F5181B8-42F4-4566-84B4-242671467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3032-4C8A-BE7E-0D5F6CEBA54F}"/>
                </c:ext>
              </c:extLst>
            </c:dLbl>
            <c:dLbl>
              <c:idx val="24"/>
              <c:tx>
                <c:rich>
                  <a:bodyPr/>
                  <a:lstStyle/>
                  <a:p>
                    <a:fld id="{FBA97276-25F8-4783-9F19-283B9D68E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3032-4C8A-BE7E-0D5F6CEBA54F}"/>
                </c:ext>
              </c:extLst>
            </c:dLbl>
            <c:dLbl>
              <c:idx val="25"/>
              <c:tx>
                <c:rich>
                  <a:bodyPr/>
                  <a:lstStyle/>
                  <a:p>
                    <a:fld id="{361CC257-BFDC-43A7-8AAC-436B05029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3032-4C8A-BE7E-0D5F6CEBA54F}"/>
                </c:ext>
              </c:extLst>
            </c:dLbl>
            <c:dLbl>
              <c:idx val="26"/>
              <c:tx>
                <c:rich>
                  <a:bodyPr/>
                  <a:lstStyle/>
                  <a:p>
                    <a:fld id="{6360948B-E4E1-406B-8695-72F8B944E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3032-4C8A-BE7E-0D5F6CEBA54F}"/>
                </c:ext>
              </c:extLst>
            </c:dLbl>
            <c:dLbl>
              <c:idx val="27"/>
              <c:tx>
                <c:rich>
                  <a:bodyPr/>
                  <a:lstStyle/>
                  <a:p>
                    <a:fld id="{8F02F39A-6503-458A-9688-90C58B1E6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3032-4C8A-BE7E-0D5F6CEBA54F}"/>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3032-4C8A-BE7E-0D5F6CEBA54F}"/>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3032-4C8A-BE7E-0D5F6CEBA54F}"/>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3032-4C8A-BE7E-0D5F6CEBA54F}"/>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3032-4C8A-BE7E-0D5F6CEBA54F}"/>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3032-4C8A-BE7E-0D5F6CEBA54F}"/>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3032-4C8A-BE7E-0D5F6CEBA54F}"/>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3032-4C8A-BE7E-0D5F6CEBA54F}"/>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3032-4C8A-BE7E-0D5F6CEBA54F}"/>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3032-4C8A-BE7E-0D5F6CEBA54F}"/>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3032-4C8A-BE7E-0D5F6CEBA54F}"/>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3032-4C8A-BE7E-0D5F6CEBA54F}"/>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3032-4C8A-BE7E-0D5F6CEBA54F}"/>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3032-4C8A-BE7E-0D5F6CEBA54F}"/>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3032-4C8A-BE7E-0D5F6CEBA54F}"/>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3</c:f>
              <c:numCache>
                <c:formatCode>General</c:formatCode>
                <c:ptCount val="42"/>
                <c:pt idx="0">
                  <c:v>9.2596000000000007</c:v>
                </c:pt>
                <c:pt idx="1">
                  <c:v>7.5926999999999998</c:v>
                </c:pt>
                <c:pt idx="2">
                  <c:v>8.8203999999999994</c:v>
                </c:pt>
                <c:pt idx="3">
                  <c:v>6.0709999999999997</c:v>
                </c:pt>
                <c:pt idx="4">
                  <c:v>8.8940999999999999</c:v>
                </c:pt>
                <c:pt idx="5">
                  <c:v>8.4114000000000004</c:v>
                </c:pt>
                <c:pt idx="6">
                  <c:v>7.4500999999999999</c:v>
                </c:pt>
                <c:pt idx="7">
                  <c:v>8.7295999999999996</c:v>
                </c:pt>
                <c:pt idx="8">
                  <c:v>7.4040999999999997</c:v>
                </c:pt>
                <c:pt idx="9">
                  <c:v>5.0232000000000001</c:v>
                </c:pt>
                <c:pt idx="10">
                  <c:v>6.2583000000000002</c:v>
                </c:pt>
                <c:pt idx="11">
                  <c:v>5.7774000000000001</c:v>
                </c:pt>
                <c:pt idx="12">
                  <c:v>6.2858000000000001</c:v>
                </c:pt>
                <c:pt idx="13">
                  <c:v>9.8241999999999994</c:v>
                </c:pt>
                <c:pt idx="14">
                  <c:v>7.8284000000000002</c:v>
                </c:pt>
                <c:pt idx="15">
                  <c:v>8.1095000000000006</c:v>
                </c:pt>
                <c:pt idx="16">
                  <c:v>7.8398000000000003</c:v>
                </c:pt>
                <c:pt idx="17">
                  <c:v>7.4950000000000001</c:v>
                </c:pt>
                <c:pt idx="18">
                  <c:v>6.7352999999999996</c:v>
                </c:pt>
                <c:pt idx="19">
                  <c:v>6.1775000000000002</c:v>
                </c:pt>
                <c:pt idx="20">
                  <c:v>9.4852000000000007</c:v>
                </c:pt>
                <c:pt idx="21">
                  <c:v>9.3064</c:v>
                </c:pt>
                <c:pt idx="22">
                  <c:v>8.5388000000000002</c:v>
                </c:pt>
                <c:pt idx="23">
                  <c:v>10.5822</c:v>
                </c:pt>
                <c:pt idx="24">
                  <c:v>11.0299</c:v>
                </c:pt>
                <c:pt idx="25">
                  <c:v>11.2186</c:v>
                </c:pt>
                <c:pt idx="26">
                  <c:v>10.653499999999999</c:v>
                </c:pt>
                <c:pt idx="27">
                  <c:v>9.4532000000000007</c:v>
                </c:pt>
                <c:pt idx="28">
                  <c:v>10.1027</c:v>
                </c:pt>
                <c:pt idx="29">
                  <c:v>8.7674000000000003</c:v>
                </c:pt>
                <c:pt idx="30">
                  <c:v>10.3247</c:v>
                </c:pt>
                <c:pt idx="31">
                  <c:v>18.9925</c:v>
                </c:pt>
                <c:pt idx="32">
                  <c:v>19.014299999999999</c:v>
                </c:pt>
                <c:pt idx="33">
                  <c:v>7.5269000000000004</c:v>
                </c:pt>
                <c:pt idx="34">
                  <c:v>9.9793000000000003</c:v>
                </c:pt>
                <c:pt idx="35">
                  <c:v>8.9146999999999998</c:v>
                </c:pt>
                <c:pt idx="36">
                  <c:v>18.106000000000002</c:v>
                </c:pt>
                <c:pt idx="37">
                  <c:v>7.7407000000000004</c:v>
                </c:pt>
                <c:pt idx="38">
                  <c:v>8.7566000000000006</c:v>
                </c:pt>
                <c:pt idx="39">
                  <c:v>21.960999999999999</c:v>
                </c:pt>
                <c:pt idx="40">
                  <c:v>10.2592</c:v>
                </c:pt>
                <c:pt idx="41">
                  <c:v>18.138400000000001</c:v>
                </c:pt>
              </c:numCache>
            </c:numRef>
          </c:xVal>
          <c:yVal>
            <c:numRef>
              <c:f>Sheet1!$B$2:$B$43</c:f>
              <c:numCache>
                <c:formatCode>General</c:formatCode>
                <c:ptCount val="42"/>
                <c:pt idx="0">
                  <c:v>0.28370000000000001</c:v>
                </c:pt>
                <c:pt idx="1">
                  <c:v>0.26960000000000001</c:v>
                </c:pt>
                <c:pt idx="2">
                  <c:v>0.3201</c:v>
                </c:pt>
                <c:pt idx="3">
                  <c:v>-2.98E-2</c:v>
                </c:pt>
                <c:pt idx="4">
                  <c:v>0.30370000000000003</c:v>
                </c:pt>
                <c:pt idx="5">
                  <c:v>0.30099999999999999</c:v>
                </c:pt>
                <c:pt idx="6">
                  <c:v>0.35210000000000002</c:v>
                </c:pt>
                <c:pt idx="7">
                  <c:v>0.42880000000000001</c:v>
                </c:pt>
                <c:pt idx="8">
                  <c:v>0.39810000000000001</c:v>
                </c:pt>
                <c:pt idx="9">
                  <c:v>0.17280000000000001</c:v>
                </c:pt>
                <c:pt idx="10">
                  <c:v>0.31580000000000003</c:v>
                </c:pt>
                <c:pt idx="11">
                  <c:v>0.26429999999999998</c:v>
                </c:pt>
                <c:pt idx="12">
                  <c:v>0.3831</c:v>
                </c:pt>
                <c:pt idx="13">
                  <c:v>0.3745</c:v>
                </c:pt>
                <c:pt idx="14">
                  <c:v>0.26479999999999998</c:v>
                </c:pt>
                <c:pt idx="15">
                  <c:v>0.42459999999999998</c:v>
                </c:pt>
                <c:pt idx="16">
                  <c:v>0.41860000000000003</c:v>
                </c:pt>
                <c:pt idx="17">
                  <c:v>0.40150000000000002</c:v>
                </c:pt>
                <c:pt idx="18">
                  <c:v>0.34839999999999999</c:v>
                </c:pt>
                <c:pt idx="19">
                  <c:v>0.21079999999999999</c:v>
                </c:pt>
                <c:pt idx="20">
                  <c:v>0.48120000000000002</c:v>
                </c:pt>
                <c:pt idx="21">
                  <c:v>0.33500000000000002</c:v>
                </c:pt>
                <c:pt idx="22">
                  <c:v>0.23860000000000001</c:v>
                </c:pt>
                <c:pt idx="23">
                  <c:v>0.31180000000000002</c:v>
                </c:pt>
                <c:pt idx="24">
                  <c:v>0.30990000000000001</c:v>
                </c:pt>
                <c:pt idx="25">
                  <c:v>0.35339999999999999</c:v>
                </c:pt>
                <c:pt idx="26">
                  <c:v>0.27829999999999999</c:v>
                </c:pt>
                <c:pt idx="27">
                  <c:v>0.1988</c:v>
                </c:pt>
                <c:pt idx="28">
                  <c:v>0.36820000000000003</c:v>
                </c:pt>
                <c:pt idx="29">
                  <c:v>0.34860000000000002</c:v>
                </c:pt>
                <c:pt idx="30">
                  <c:v>0.35220000000000001</c:v>
                </c:pt>
                <c:pt idx="31">
                  <c:v>0.26950000000000002</c:v>
                </c:pt>
                <c:pt idx="32">
                  <c:v>0.18890000000000001</c:v>
                </c:pt>
                <c:pt idx="33">
                  <c:v>0.1007</c:v>
                </c:pt>
                <c:pt idx="34">
                  <c:v>0.38869999999999999</c:v>
                </c:pt>
                <c:pt idx="35">
                  <c:v>0.25869999999999999</c:v>
                </c:pt>
                <c:pt idx="36">
                  <c:v>0.2384</c:v>
                </c:pt>
                <c:pt idx="37">
                  <c:v>0.22420000000000001</c:v>
                </c:pt>
                <c:pt idx="38">
                  <c:v>0.2535</c:v>
                </c:pt>
                <c:pt idx="39">
                  <c:v>0.34350000000000003</c:v>
                </c:pt>
                <c:pt idx="40">
                  <c:v>0.26779999999999998</c:v>
                </c:pt>
                <c:pt idx="41">
                  <c:v>0.17460000000000001</c:v>
                </c:pt>
              </c:numCache>
            </c:numRef>
          </c:yVal>
          <c:bubbleSize>
            <c:numRef>
              <c:f>Sheet1!$C$2:$C$43</c:f>
              <c:numCache>
                <c:formatCode>General</c:formatCode>
                <c:ptCount val="42"/>
                <c:pt idx="0">
                  <c:v>1645429.3156999999</c:v>
                </c:pt>
                <c:pt idx="1">
                  <c:v>194639.24890000001</c:v>
                </c:pt>
                <c:pt idx="2">
                  <c:v>1483245.8407999999</c:v>
                </c:pt>
                <c:pt idx="3">
                  <c:v>19536.5635</c:v>
                </c:pt>
                <c:pt idx="4">
                  <c:v>568393.2801999998</c:v>
                </c:pt>
                <c:pt idx="5">
                  <c:v>455014.01169999997</c:v>
                </c:pt>
                <c:pt idx="6">
                  <c:v>2305421.665</c:v>
                </c:pt>
                <c:pt idx="7">
                  <c:v>2848455.0869</c:v>
                </c:pt>
                <c:pt idx="8">
                  <c:v>3516863.661400001</c:v>
                </c:pt>
                <c:pt idx="9">
                  <c:v>21865.780599999991</c:v>
                </c:pt>
                <c:pt idx="10">
                  <c:v>2989794.8149000001</c:v>
                </c:pt>
                <c:pt idx="11">
                  <c:v>4789467.3874000004</c:v>
                </c:pt>
                <c:pt idx="12">
                  <c:v>466038.12929999991</c:v>
                </c:pt>
                <c:pt idx="13">
                  <c:v>264142.96620000002</c:v>
                </c:pt>
                <c:pt idx="14">
                  <c:v>8501.64</c:v>
                </c:pt>
                <c:pt idx="15">
                  <c:v>1209085.3938</c:v>
                </c:pt>
                <c:pt idx="16">
                  <c:v>1555147.5876</c:v>
                </c:pt>
                <c:pt idx="17">
                  <c:v>743356.49009999994</c:v>
                </c:pt>
                <c:pt idx="18">
                  <c:v>599065.13089999976</c:v>
                </c:pt>
                <c:pt idx="19">
                  <c:v>187301.984</c:v>
                </c:pt>
                <c:pt idx="20">
                  <c:v>1563209.9702000001</c:v>
                </c:pt>
                <c:pt idx="21">
                  <c:v>211804.02810000011</c:v>
                </c:pt>
                <c:pt idx="22">
                  <c:v>146209.82399999999</c:v>
                </c:pt>
                <c:pt idx="23">
                  <c:v>586213.45920000004</c:v>
                </c:pt>
                <c:pt idx="24">
                  <c:v>108247.5664</c:v>
                </c:pt>
                <c:pt idx="25">
                  <c:v>53176.012199999997</c:v>
                </c:pt>
                <c:pt idx="26">
                  <c:v>150811.14780000001</c:v>
                </c:pt>
                <c:pt idx="27">
                  <c:v>51813.046099999992</c:v>
                </c:pt>
                <c:pt idx="28">
                  <c:v>50382.185699999987</c:v>
                </c:pt>
                <c:pt idx="29">
                  <c:v>392341.30039999989</c:v>
                </c:pt>
                <c:pt idx="30">
                  <c:v>608075.93240000005</c:v>
                </c:pt>
                <c:pt idx="31">
                  <c:v>1226990.7849000001</c:v>
                </c:pt>
                <c:pt idx="32">
                  <c:v>370190.26640000002</c:v>
                </c:pt>
                <c:pt idx="33">
                  <c:v>423307.45439999999</c:v>
                </c:pt>
                <c:pt idx="34">
                  <c:v>177451.41279999999</c:v>
                </c:pt>
                <c:pt idx="35">
                  <c:v>250921.9325</c:v>
                </c:pt>
                <c:pt idx="36">
                  <c:v>714931.66359999997</c:v>
                </c:pt>
                <c:pt idx="37">
                  <c:v>1620710.9251999999</c:v>
                </c:pt>
                <c:pt idx="38">
                  <c:v>575246.19469999999</c:v>
                </c:pt>
                <c:pt idx="39">
                  <c:v>41023.239699999998</c:v>
                </c:pt>
                <c:pt idx="40">
                  <c:v>22765.070899999999</c:v>
                </c:pt>
                <c:pt idx="41">
                  <c:v>26373.204000000002</c:v>
                </c:pt>
              </c:numCache>
            </c:numRef>
          </c:bubbleSize>
          <c:bubble3D val="0"/>
          <c:extLst>
            <c:ext xmlns:c15="http://schemas.microsoft.com/office/drawing/2012/chart" uri="{02D57815-91ED-43cb-92C2-25804820EDAC}">
              <c15:datalabelsRange>
                <c15:f>Sheet1!$E$2:$E$29</c15:f>
                <c15:dlblRangeCache>
                  <c:ptCount val="28"/>
                  <c:pt idx="0">
                    <c:v>Boursin Classique Fromage Frais A Tartiner Afh 1X160Gr 10P</c:v>
                  </c:pt>
                  <c:pt idx="1">
                    <c:v>La Vache Qui Rit Aro Fromage Fondu Boite Ronde Jambon 1X133Gr 8P</c:v>
                  </c:pt>
                  <c:pt idx="2">
                    <c:v>Boursin Classique Fromage Frais A Tartiner Afh Boite 1X150Gr 1P</c:v>
                  </c:pt>
                  <c:pt idx="3">
                    <c:v>Boursin Classique Fromage Frais A Tartiner Truffe Boite 1X150Gr 1P</c:v>
                  </c:pt>
                  <c:pt idx="4">
                    <c:v>Boursin Classique Fromage Frais A Tartiner Figue Et 3 Noix Boite 1X150Gr 1P</c:v>
                  </c:pt>
                  <c:pt idx="5">
                    <c:v>Boursin Classique Fromage Frais A Tartiner Ciboulette &amp; Echalote Boite 1X150Gr 1P</c:v>
                  </c:pt>
                  <c:pt idx="6">
                    <c:v>Kiri Creme Fromage Blanc Frais Carre 1X432Gr 24P</c:v>
                  </c:pt>
                  <c:pt idx="7">
                    <c:v>Kiri Creme Fromage Blanc Frais Carre 1X216Gr 12P</c:v>
                  </c:pt>
                  <c:pt idx="8">
                    <c:v>La Vache Qui Rit Nature Fromage Fondu Boite Ronde 1X192Gr 12P</c:v>
                  </c:pt>
                  <c:pt idx="9">
                    <c:v>La Vache Qui Rit Nature Fromage Fondu Boite Ronde 1X512Gr 24+8P</c:v>
                  </c:pt>
                  <c:pt idx="10">
                    <c:v>La Vache Qui Rit Nature Fromage Fondu Boite Ronde 1X384Gr 24P</c:v>
                  </c:pt>
                  <c:pt idx="11">
                    <c:v>La Vache Qui Rit Nature Fromage Fondu Boite Ronde 1X512Gr 32P</c:v>
                  </c:pt>
                  <c:pt idx="12">
                    <c:v>La Vache Qui Rit Allegee Fromage Fondu Boite Ronde Allege 1X267Gr 16P</c:v>
                  </c:pt>
                  <c:pt idx="13">
                    <c:v>Kiri Delicieusement Fouette Fromage Frais A Tartiner 1X125Gr 1P</c:v>
                  </c:pt>
                  <c:pt idx="14">
                    <c:v>Kiri Delicieusement Fouette Fromage Frais A Tartiner 1X210Gr 1P</c:v>
                  </c:pt>
                  <c:pt idx="15">
                    <c:v>Kiri Gouter Fromage Blanc Dips Boite 1X175Gr 5P</c:v>
                  </c:pt>
                  <c:pt idx="16">
                    <c:v>Kiri Gouter Fromage Blanc Dips Boite 1X280Gr 8P</c:v>
                  </c:pt>
                  <c:pt idx="17">
                    <c:v>La Vache Qui Rit Pik Et Croq' Fromage Fondu Dips Boite 1X175Gr 5P</c:v>
                  </c:pt>
                  <c:pt idx="18">
                    <c:v>La Vache Qui Rit Pik Et Croq' Fromage Fondu Dips Boite 1X280Gr 8P</c:v>
                  </c:pt>
                  <c:pt idx="19">
                    <c:v>Kiri Creme Fromage Blanc Frais Carre 1X432Gr 18+6P</c:v>
                  </c:pt>
                  <c:pt idx="20">
                    <c:v>Kiri Creme Fromage Blanc Frais Carre 1X144Gr 8P</c:v>
                  </c:pt>
                  <c:pt idx="21">
                    <c:v>Kiri Bio Fromage Blanc Frais Carre 1X144Gr 8P</c:v>
                  </c:pt>
                  <c:pt idx="22">
                    <c:v>Kiri Delicieusement Fouette Fromage Frais A Tartiner 1X160Gr 10P</c:v>
                  </c:pt>
                  <c:pt idx="23">
                    <c:v>Boursin Salade &amp; Aperitif Fromage Frais Des Afh 1X120Gr 1P</c:v>
                  </c:pt>
                  <c:pt idx="24">
                    <c:v>Boursin Salade &amp; Aperitif Fromage Frais Des Figue Noix 1X120Gr 1P</c:v>
                  </c:pt>
                  <c:pt idx="25">
                    <c:v>Boursin Salade &amp; Aperitif Fromage Frais Des Noisette Et 3 Noix 1X120Gr 1P</c:v>
                  </c:pt>
                  <c:pt idx="26">
                    <c:v>Boursin Salade &amp; Aperitif Fromage Frais Des Ciboulette Echalote 1X120Gr 1P</c:v>
                  </c:pt>
                  <c:pt idx="27">
                    <c:v>Boursin Salade &amp; Aperitif Fromage Frais Des Citron Romarin 1X120Gr 1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6.353199999999998"/>
          <c:min val="4.0185599999999999"/>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3303959092679142"/>
        <c:crossBetween val="midCat"/>
      </c:valAx>
      <c:valAx>
        <c:axId val="1011451359"/>
        <c:scaling>
          <c:orientation val="minMax"/>
          <c:max val="0.93743999999999994"/>
          <c:min val="-0.263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505599460604326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006C6D"/>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006C6D"/>
              </a:solidFill>
            </c:spPr>
            <c:extLst>
              <c:ext xmlns:c16="http://schemas.microsoft.com/office/drawing/2014/chart" uri="{C3380CC4-5D6E-409C-BE32-E72D297353CC}">
                <c16:uniqueId val="{00000017-78D1-41D4-ABFA-320BD44357BD}"/>
              </c:ext>
            </c:extLst>
          </c:dPt>
          <c:dPt>
            <c:idx val="12"/>
            <c:invertIfNegative val="1"/>
            <c:bubble3D val="0"/>
            <c:spPr>
              <a:solidFill>
                <a:srgbClr val="C00000"/>
              </a:solidFill>
            </c:spPr>
            <c:extLst>
              <c:ext xmlns:c16="http://schemas.microsoft.com/office/drawing/2014/chart" uri="{C3380CC4-5D6E-409C-BE32-E72D297353CC}">
                <c16:uniqueId val="{00000019-FD53-468A-9829-C4D04D48E43C}"/>
              </c:ext>
            </c:extLst>
          </c:dPt>
          <c:dPt>
            <c:idx val="13"/>
            <c:invertIfNegative val="1"/>
            <c:bubble3D val="0"/>
            <c:spPr>
              <a:solidFill>
                <a:srgbClr val="006C6D"/>
              </a:solidFill>
            </c:spPr>
            <c:extLst>
              <c:ext xmlns:c16="http://schemas.microsoft.com/office/drawing/2014/chart" uri="{C3380CC4-5D6E-409C-BE32-E72D297353CC}">
                <c16:uniqueId val="{0000001B-FD53-468A-9829-C4D04D48E43C}"/>
              </c:ext>
            </c:extLst>
          </c:dPt>
          <c:dPt>
            <c:idx val="14"/>
            <c:invertIfNegative val="1"/>
            <c:bubble3D val="0"/>
            <c:spPr>
              <a:solidFill>
                <a:srgbClr val="006C6D"/>
              </a:solidFill>
            </c:spPr>
            <c:extLst>
              <c:ext xmlns:c16="http://schemas.microsoft.com/office/drawing/2014/chart" uri="{C3380CC4-5D6E-409C-BE32-E72D297353CC}">
                <c16:uniqueId val="{0000001D-FD53-468A-9829-C4D04D48E43C}"/>
              </c:ext>
            </c:extLst>
          </c:dPt>
          <c:dPt>
            <c:idx val="15"/>
            <c:invertIfNegative val="1"/>
            <c:bubble3D val="0"/>
            <c:spPr>
              <a:solidFill>
                <a:srgbClr val="FF8080"/>
              </a:solidFill>
            </c:spPr>
            <c:extLst>
              <c:ext xmlns:c16="http://schemas.microsoft.com/office/drawing/2014/chart" uri="{C3380CC4-5D6E-409C-BE32-E72D297353CC}">
                <c16:uniqueId val="{0000001F-FD53-468A-9829-C4D04D48E43C}"/>
              </c:ext>
            </c:extLst>
          </c:dPt>
          <c:dLbls>
            <c:dLbl>
              <c:idx val="0"/>
              <c:tx>
                <c:rich>
                  <a:bodyPr/>
                  <a:lstStyle/>
                  <a:p>
                    <a:fld id="{D5E88B86-03C2-4D92-8662-E8E90AB78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3DC082D-7C49-47E8-B987-B4758DABE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63A13F3-B2C8-43B8-A153-FE9FFDEA5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1967BA5-E430-4E51-A594-B25A1C54D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EAF2277-A9C1-4946-A8EA-B5EE80ED2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C9A9890-259D-429C-B33E-8A8F596AB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B017F97-0F2A-46D9-8158-3BDB225C5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84D1260-38C8-445E-8B4A-5F77A31A0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13F405BB-180E-4134-AF93-4EF5820C6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9A833CF7-2B59-435C-9CA6-B56C22497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B750B333-0904-42FF-AD56-73FE46EC6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D2100E1A-E3B9-45EB-B4E1-6E2548EF2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72A11D8C-D295-4C1D-990B-78273750C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FD53-468A-9829-C4D04D48E43C}"/>
                </c:ext>
              </c:extLst>
            </c:dLbl>
            <c:dLbl>
              <c:idx val="13"/>
              <c:tx>
                <c:rich>
                  <a:bodyPr/>
                  <a:lstStyle/>
                  <a:p>
                    <a:fld id="{B0E44AF4-AEE0-47C9-94DF-33362A59B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FD53-468A-9829-C4D04D48E43C}"/>
                </c:ext>
              </c:extLst>
            </c:dLbl>
            <c:dLbl>
              <c:idx val="14"/>
              <c:tx>
                <c:rich>
                  <a:bodyPr/>
                  <a:lstStyle/>
                  <a:p>
                    <a:fld id="{68B4EE99-BF6E-4C1A-80B2-42E3E4E02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FD53-468A-9829-C4D04D48E43C}"/>
                </c:ext>
              </c:extLst>
            </c:dLbl>
            <c:dLbl>
              <c:idx val="15"/>
              <c:tx>
                <c:rich>
                  <a:bodyPr/>
                  <a:lstStyle/>
                  <a:p>
                    <a:fld id="{86927D30-1AD7-4F64-9472-4548506FF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FD53-468A-9829-C4D04D48E43C}"/>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7</c:f>
              <c:numCache>
                <c:formatCode>General</c:formatCode>
                <c:ptCount val="16"/>
                <c:pt idx="0">
                  <c:v>7.5926999999999998</c:v>
                </c:pt>
                <c:pt idx="1">
                  <c:v>7.4500999999999999</c:v>
                </c:pt>
                <c:pt idx="2">
                  <c:v>8.7295999999999996</c:v>
                </c:pt>
                <c:pt idx="3">
                  <c:v>7.4040999999999997</c:v>
                </c:pt>
                <c:pt idx="4">
                  <c:v>5.0232000000000001</c:v>
                </c:pt>
                <c:pt idx="5">
                  <c:v>6.2583000000000002</c:v>
                </c:pt>
                <c:pt idx="6">
                  <c:v>5.7774000000000001</c:v>
                </c:pt>
                <c:pt idx="7">
                  <c:v>6.2858000000000001</c:v>
                </c:pt>
                <c:pt idx="8">
                  <c:v>8.1095000000000006</c:v>
                </c:pt>
                <c:pt idx="9">
                  <c:v>7.8398000000000003</c:v>
                </c:pt>
                <c:pt idx="10">
                  <c:v>7.4950000000000001</c:v>
                </c:pt>
                <c:pt idx="11">
                  <c:v>6.7352999999999996</c:v>
                </c:pt>
                <c:pt idx="12">
                  <c:v>6.1775000000000002</c:v>
                </c:pt>
                <c:pt idx="13">
                  <c:v>9.4852000000000007</c:v>
                </c:pt>
                <c:pt idx="14">
                  <c:v>9.3064</c:v>
                </c:pt>
                <c:pt idx="15">
                  <c:v>9.9793000000000003</c:v>
                </c:pt>
              </c:numCache>
            </c:numRef>
          </c:xVal>
          <c:yVal>
            <c:numRef>
              <c:f>Sheet1!$B$2:$B$17</c:f>
              <c:numCache>
                <c:formatCode>General</c:formatCode>
                <c:ptCount val="16"/>
                <c:pt idx="0">
                  <c:v>0.26960000000000001</c:v>
                </c:pt>
                <c:pt idx="1">
                  <c:v>0.35210000000000002</c:v>
                </c:pt>
                <c:pt idx="2">
                  <c:v>0.42880000000000001</c:v>
                </c:pt>
                <c:pt idx="3">
                  <c:v>0.39810000000000001</c:v>
                </c:pt>
                <c:pt idx="4">
                  <c:v>0.17280000000000001</c:v>
                </c:pt>
                <c:pt idx="5">
                  <c:v>0.31580000000000003</c:v>
                </c:pt>
                <c:pt idx="6">
                  <c:v>0.26429999999999998</c:v>
                </c:pt>
                <c:pt idx="7">
                  <c:v>0.3831</c:v>
                </c:pt>
                <c:pt idx="8">
                  <c:v>0.42459999999999998</c:v>
                </c:pt>
                <c:pt idx="9">
                  <c:v>0.41860000000000003</c:v>
                </c:pt>
                <c:pt idx="10">
                  <c:v>0.40150000000000002</c:v>
                </c:pt>
                <c:pt idx="11">
                  <c:v>0.34839999999999999</c:v>
                </c:pt>
                <c:pt idx="12">
                  <c:v>0.21079999999999999</c:v>
                </c:pt>
                <c:pt idx="13">
                  <c:v>0.48120000000000002</c:v>
                </c:pt>
                <c:pt idx="14">
                  <c:v>0.33500000000000002</c:v>
                </c:pt>
                <c:pt idx="15">
                  <c:v>0.38869999999999999</c:v>
                </c:pt>
              </c:numCache>
            </c:numRef>
          </c:yVal>
          <c:bubbleSize>
            <c:numRef>
              <c:f>Sheet1!$C$2:$C$17</c:f>
              <c:numCache>
                <c:formatCode>General</c:formatCode>
                <c:ptCount val="16"/>
                <c:pt idx="0">
                  <c:v>194639.24890000001</c:v>
                </c:pt>
                <c:pt idx="1">
                  <c:v>2305421.665</c:v>
                </c:pt>
                <c:pt idx="2">
                  <c:v>2848455.0869</c:v>
                </c:pt>
                <c:pt idx="3">
                  <c:v>3516863.661400001</c:v>
                </c:pt>
                <c:pt idx="4">
                  <c:v>21865.780599999991</c:v>
                </c:pt>
                <c:pt idx="5">
                  <c:v>2989794.8149000001</c:v>
                </c:pt>
                <c:pt idx="6">
                  <c:v>4789467.3874000004</c:v>
                </c:pt>
                <c:pt idx="7">
                  <c:v>466038.12929999991</c:v>
                </c:pt>
                <c:pt idx="8">
                  <c:v>1209085.3938</c:v>
                </c:pt>
                <c:pt idx="9">
                  <c:v>1555147.5876</c:v>
                </c:pt>
                <c:pt idx="10">
                  <c:v>743356.49009999994</c:v>
                </c:pt>
                <c:pt idx="11">
                  <c:v>599065.13089999976</c:v>
                </c:pt>
                <c:pt idx="12">
                  <c:v>187301.984</c:v>
                </c:pt>
                <c:pt idx="13">
                  <c:v>1563209.9702000001</c:v>
                </c:pt>
                <c:pt idx="14">
                  <c:v>211804.02810000011</c:v>
                </c:pt>
                <c:pt idx="15">
                  <c:v>177451.41279999999</c:v>
                </c:pt>
              </c:numCache>
            </c:numRef>
          </c:bubbleSize>
          <c:bubble3D val="0"/>
          <c:extLst>
            <c:ext xmlns:c15="http://schemas.microsoft.com/office/drawing/2012/chart" uri="{02D57815-91ED-43cb-92C2-25804820EDAC}">
              <c15:datalabelsRange>
                <c15:f>Sheet1!$E$2:$E$29</c15:f>
                <c15:dlblRangeCache>
                  <c:ptCount val="28"/>
                  <c:pt idx="0">
                    <c:v>La Vache Qui Rit Aro Fromage Fondu Boite Ronde Jambon 1X133Gr 8P</c:v>
                  </c:pt>
                  <c:pt idx="1">
                    <c:v>Kiri Creme Fromage Blanc Frais Carre 1X432Gr 24P</c:v>
                  </c:pt>
                  <c:pt idx="2">
                    <c:v>Kiri Creme Fromage Blanc Frais Carre 1X216Gr 12P</c:v>
                  </c:pt>
                  <c:pt idx="3">
                    <c:v>La Vache Qui Rit Nature Fromage Fondu Boite Ronde 1X192Gr 12P</c:v>
                  </c:pt>
                  <c:pt idx="4">
                    <c:v>La Vache Qui Rit Nature Fromage Fondu Boite Ronde 1X512Gr 24+8P</c:v>
                  </c:pt>
                  <c:pt idx="5">
                    <c:v>La Vache Qui Rit Nature Fromage Fondu Boite Ronde 1X384Gr 24P</c:v>
                  </c:pt>
                  <c:pt idx="6">
                    <c:v>La Vache Qui Rit Nature Fromage Fondu Boite Ronde 1X512Gr 32P</c:v>
                  </c:pt>
                  <c:pt idx="7">
                    <c:v>La Vache Qui Rit Allegee Fromage Fondu Boite Ronde Allege 1X267Gr 16P</c:v>
                  </c:pt>
                  <c:pt idx="8">
                    <c:v>Kiri Gouter Fromage Blanc Dips Boite 1X175Gr 5P</c:v>
                  </c:pt>
                  <c:pt idx="9">
                    <c:v>Kiri Gouter Fromage Blanc Dips Boite 1X280Gr 8P</c:v>
                  </c:pt>
                  <c:pt idx="10">
                    <c:v>La Vache Qui Rit Pik Et Croq' Fromage Fondu Dips Boite 1X175Gr 5P</c:v>
                  </c:pt>
                  <c:pt idx="11">
                    <c:v>La Vache Qui Rit Pik Et Croq' Fromage Fondu Dips Boite 1X280Gr 8P</c:v>
                  </c:pt>
                  <c:pt idx="12">
                    <c:v>Kiri Creme Fromage Blanc Frais Carre 1X432Gr 18+6P</c:v>
                  </c:pt>
                  <c:pt idx="13">
                    <c:v>Kiri Creme Fromage Blanc Frais Carre 1X144Gr 8P</c:v>
                  </c:pt>
                  <c:pt idx="14">
                    <c:v>Kiri Bio Fromage Blanc Frais Carre 1X144Gr 8P</c:v>
                  </c:pt>
                  <c:pt idx="15">
                    <c:v>Kiri Chevre Fromage Blanc Frais Carre 1X144Gr 8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975160000000001"/>
          <c:min val="4.0185599999999999"/>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27709219173253"/>
        <c:crossBetween val="midCat"/>
      </c:valAx>
      <c:valAx>
        <c:axId val="1011451359"/>
        <c:scaling>
          <c:orientation val="minMax"/>
          <c:max val="0.93743999999999994"/>
          <c:min val="-0.10175999999999999"/>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7.284725342264055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7ECAC4"/>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006C6D"/>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7ECAC4"/>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C00000"/>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5BA4-4784-AB2F-283B7EDCBCA2}"/>
              </c:ext>
            </c:extLst>
          </c:dPt>
          <c:dPt>
            <c:idx val="13"/>
            <c:invertIfNegative val="1"/>
            <c:bubble3D val="0"/>
            <c:spPr>
              <a:solidFill>
                <a:srgbClr val="006C6D"/>
              </a:solidFill>
            </c:spPr>
            <c:extLst>
              <c:ext xmlns:c16="http://schemas.microsoft.com/office/drawing/2014/chart" uri="{C3380CC4-5D6E-409C-BE32-E72D297353CC}">
                <c16:uniqueId val="{0000001B-5BA4-4784-AB2F-283B7EDCBCA2}"/>
              </c:ext>
            </c:extLst>
          </c:dPt>
          <c:dPt>
            <c:idx val="14"/>
            <c:invertIfNegative val="1"/>
            <c:bubble3D val="0"/>
            <c:spPr>
              <a:solidFill>
                <a:srgbClr val="006C6D"/>
              </a:solidFill>
            </c:spPr>
            <c:extLst>
              <c:ext xmlns:c16="http://schemas.microsoft.com/office/drawing/2014/chart" uri="{C3380CC4-5D6E-409C-BE32-E72D297353CC}">
                <c16:uniqueId val="{0000001D-5BA4-4784-AB2F-283B7EDCBCA2}"/>
              </c:ext>
            </c:extLst>
          </c:dPt>
          <c:dPt>
            <c:idx val="15"/>
            <c:invertIfNegative val="1"/>
            <c:bubble3D val="0"/>
            <c:spPr>
              <a:solidFill>
                <a:srgbClr val="006C6D"/>
              </a:solidFill>
            </c:spPr>
            <c:extLst>
              <c:ext xmlns:c16="http://schemas.microsoft.com/office/drawing/2014/chart" uri="{C3380CC4-5D6E-409C-BE32-E72D297353CC}">
                <c16:uniqueId val="{0000001F-5BA4-4784-AB2F-283B7EDCBCA2}"/>
              </c:ext>
            </c:extLst>
          </c:dPt>
          <c:dPt>
            <c:idx val="16"/>
            <c:invertIfNegative val="1"/>
            <c:bubble3D val="0"/>
            <c:spPr>
              <a:solidFill>
                <a:srgbClr val="006C6D"/>
              </a:solidFill>
            </c:spPr>
            <c:extLst>
              <c:ext xmlns:c16="http://schemas.microsoft.com/office/drawing/2014/chart" uri="{C3380CC4-5D6E-409C-BE32-E72D297353CC}">
                <c16:uniqueId val="{00000021-5BA4-4784-AB2F-283B7EDCBCA2}"/>
              </c:ext>
            </c:extLst>
          </c:dPt>
          <c:dPt>
            <c:idx val="17"/>
            <c:invertIfNegative val="1"/>
            <c:bubble3D val="0"/>
            <c:spPr>
              <a:solidFill>
                <a:srgbClr val="006C6D"/>
              </a:solidFill>
            </c:spPr>
            <c:extLst>
              <c:ext xmlns:c16="http://schemas.microsoft.com/office/drawing/2014/chart" uri="{C3380CC4-5D6E-409C-BE32-E72D297353CC}">
                <c16:uniqueId val="{00000023-5BA4-4784-AB2F-283B7EDCBCA2}"/>
              </c:ext>
            </c:extLst>
          </c:dPt>
          <c:dPt>
            <c:idx val="18"/>
            <c:invertIfNegative val="1"/>
            <c:bubble3D val="0"/>
            <c:spPr>
              <a:solidFill>
                <a:srgbClr val="FF8080"/>
              </a:solidFill>
            </c:spPr>
            <c:extLst>
              <c:ext xmlns:c16="http://schemas.microsoft.com/office/drawing/2014/chart" uri="{C3380CC4-5D6E-409C-BE32-E72D297353CC}">
                <c16:uniqueId val="{00000025-5BA4-4784-AB2F-283B7EDCBCA2}"/>
              </c:ext>
            </c:extLst>
          </c:dPt>
          <c:dLbls>
            <c:dLbl>
              <c:idx val="0"/>
              <c:tx>
                <c:rich>
                  <a:bodyPr/>
                  <a:lstStyle/>
                  <a:p>
                    <a:fld id="{2081FE78-538D-486B-B7AC-5BB25CFB1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14E1D36-305A-447C-A7DA-B27C2191B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83645E0-F53D-4849-96E0-D4D9C1641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79125E1-1054-44BE-AADA-5F89DBE4F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6EBFA27-3916-4D13-8015-BBD56E1A3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A91C77A-70CE-49E5-B051-079240B53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97A002F-0DCE-4774-9422-A3D070CF5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DAB82ED-3105-4BB7-921F-E4EA105A9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97037BBC-47F1-4B41-9F13-EAE5213E2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AA69533B-EBA1-4BB6-8809-96B2445595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6963DD82-20AC-45F3-B2B6-8E3C9B66E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B742958D-94D2-4931-BF79-7A0564656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A30BCB7A-8B79-48CB-8D44-8F3C536D3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5BA4-4784-AB2F-283B7EDCBCA2}"/>
                </c:ext>
              </c:extLst>
            </c:dLbl>
            <c:dLbl>
              <c:idx val="13"/>
              <c:tx>
                <c:rich>
                  <a:bodyPr/>
                  <a:lstStyle/>
                  <a:p>
                    <a:fld id="{25FD57CD-A4FF-4F10-AB6B-30B60559B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5BA4-4784-AB2F-283B7EDCBCA2}"/>
                </c:ext>
              </c:extLst>
            </c:dLbl>
            <c:dLbl>
              <c:idx val="14"/>
              <c:tx>
                <c:rich>
                  <a:bodyPr/>
                  <a:lstStyle/>
                  <a:p>
                    <a:fld id="{727AE91F-B76D-41BB-81C6-DE865F2A6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5BA4-4784-AB2F-283B7EDCBCA2}"/>
                </c:ext>
              </c:extLst>
            </c:dLbl>
            <c:dLbl>
              <c:idx val="15"/>
              <c:tx>
                <c:rich>
                  <a:bodyPr/>
                  <a:lstStyle/>
                  <a:p>
                    <a:fld id="{9AEBE151-28DE-4EEB-881A-DB97587AB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5BA4-4784-AB2F-283B7EDCBCA2}"/>
                </c:ext>
              </c:extLst>
            </c:dLbl>
            <c:dLbl>
              <c:idx val="16"/>
              <c:tx>
                <c:rich>
                  <a:bodyPr/>
                  <a:lstStyle/>
                  <a:p>
                    <a:fld id="{560903E0-FE47-4318-9043-003762622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5BA4-4784-AB2F-283B7EDCBCA2}"/>
                </c:ext>
              </c:extLst>
            </c:dLbl>
            <c:dLbl>
              <c:idx val="17"/>
              <c:tx>
                <c:rich>
                  <a:bodyPr/>
                  <a:lstStyle/>
                  <a:p>
                    <a:fld id="{AB63800C-AEF6-4CBD-8CDD-6D0477B91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5BA4-4784-AB2F-283B7EDCBCA2}"/>
                </c:ext>
              </c:extLst>
            </c:dLbl>
            <c:dLbl>
              <c:idx val="18"/>
              <c:tx>
                <c:rich>
                  <a:bodyPr/>
                  <a:lstStyle/>
                  <a:p>
                    <a:fld id="{90472047-5BF5-4CFF-9BC1-71708618C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5BA4-4784-AB2F-283B7EDCBCA2}"/>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0</c:f>
              <c:numCache>
                <c:formatCode>General</c:formatCode>
                <c:ptCount val="19"/>
                <c:pt idx="0">
                  <c:v>9.3444000000000003</c:v>
                </c:pt>
                <c:pt idx="1">
                  <c:v>5.8750999999999998</c:v>
                </c:pt>
                <c:pt idx="2">
                  <c:v>9.1408000000000005</c:v>
                </c:pt>
                <c:pt idx="3">
                  <c:v>8.0395000000000003</c:v>
                </c:pt>
                <c:pt idx="4">
                  <c:v>8.5373000000000001</c:v>
                </c:pt>
                <c:pt idx="5">
                  <c:v>5.2046000000000001</c:v>
                </c:pt>
                <c:pt idx="6">
                  <c:v>6.1547000000000001</c:v>
                </c:pt>
                <c:pt idx="7">
                  <c:v>4.9720000000000004</c:v>
                </c:pt>
                <c:pt idx="8">
                  <c:v>6.9996999999999998</c:v>
                </c:pt>
                <c:pt idx="9">
                  <c:v>8.7011000000000003</c:v>
                </c:pt>
                <c:pt idx="10">
                  <c:v>17.6187</c:v>
                </c:pt>
                <c:pt idx="11">
                  <c:v>9.6654999999999998</c:v>
                </c:pt>
                <c:pt idx="12">
                  <c:v>7.4813999999999998</c:v>
                </c:pt>
                <c:pt idx="13">
                  <c:v>8.0606000000000009</c:v>
                </c:pt>
                <c:pt idx="14">
                  <c:v>7.8818999999999999</c:v>
                </c:pt>
                <c:pt idx="15">
                  <c:v>8.1347000000000005</c:v>
                </c:pt>
                <c:pt idx="16">
                  <c:v>6.1677</c:v>
                </c:pt>
                <c:pt idx="17">
                  <c:v>9.8193000000000001</c:v>
                </c:pt>
                <c:pt idx="18">
                  <c:v>10.297599999999999</c:v>
                </c:pt>
              </c:numCache>
            </c:numRef>
          </c:xVal>
          <c:yVal>
            <c:numRef>
              <c:f>Sheet1!$B$2:$B$20</c:f>
              <c:numCache>
                <c:formatCode>General</c:formatCode>
                <c:ptCount val="19"/>
                <c:pt idx="0">
                  <c:v>0.39789999999999998</c:v>
                </c:pt>
                <c:pt idx="1">
                  <c:v>0.1764</c:v>
                </c:pt>
                <c:pt idx="2">
                  <c:v>0.45519999999999999</c:v>
                </c:pt>
                <c:pt idx="3">
                  <c:v>0.44550000000000001</c:v>
                </c:pt>
                <c:pt idx="4">
                  <c:v>0.438</c:v>
                </c:pt>
                <c:pt idx="5">
                  <c:v>0.1852</c:v>
                </c:pt>
                <c:pt idx="6">
                  <c:v>0.30149999999999999</c:v>
                </c:pt>
                <c:pt idx="7">
                  <c:v>0.14399999999999999</c:v>
                </c:pt>
                <c:pt idx="8">
                  <c:v>0.4461</c:v>
                </c:pt>
                <c:pt idx="9">
                  <c:v>0.49409999999999998</c:v>
                </c:pt>
                <c:pt idx="10">
                  <c:v>0.70169999999999999</c:v>
                </c:pt>
                <c:pt idx="11">
                  <c:v>0.12820000000000001</c:v>
                </c:pt>
                <c:pt idx="12">
                  <c:v>0.37559999999999999</c:v>
                </c:pt>
                <c:pt idx="13">
                  <c:v>0.43509999999999999</c:v>
                </c:pt>
                <c:pt idx="14">
                  <c:v>0.43030000000000002</c:v>
                </c:pt>
                <c:pt idx="15">
                  <c:v>0.46029999999999999</c:v>
                </c:pt>
                <c:pt idx="16">
                  <c:v>0.21809999999999999</c:v>
                </c:pt>
                <c:pt idx="17">
                  <c:v>0.499</c:v>
                </c:pt>
                <c:pt idx="18">
                  <c:v>0.39939999999999998</c:v>
                </c:pt>
              </c:numCache>
            </c:numRef>
          </c:yVal>
          <c:bubbleSize>
            <c:numRef>
              <c:f>Sheet1!$C$2:$C$20</c:f>
              <c:numCache>
                <c:formatCode>General</c:formatCode>
                <c:ptCount val="19"/>
                <c:pt idx="0">
                  <c:v>16203.212299999999</c:v>
                </c:pt>
                <c:pt idx="1">
                  <c:v>3725061.8516000002</c:v>
                </c:pt>
                <c:pt idx="2">
                  <c:v>2366962.6518000001</c:v>
                </c:pt>
                <c:pt idx="3">
                  <c:v>3547845.7535000001</c:v>
                </c:pt>
                <c:pt idx="4">
                  <c:v>2561.1941000000002</c:v>
                </c:pt>
                <c:pt idx="5">
                  <c:v>991517.41430000006</c:v>
                </c:pt>
                <c:pt idx="6">
                  <c:v>4149231.1453999998</c:v>
                </c:pt>
                <c:pt idx="7">
                  <c:v>7678155.8173000021</c:v>
                </c:pt>
                <c:pt idx="8">
                  <c:v>217318.38440000001</c:v>
                </c:pt>
                <c:pt idx="9">
                  <c:v>850339.46380000003</c:v>
                </c:pt>
                <c:pt idx="10">
                  <c:v>9602.1797999999999</c:v>
                </c:pt>
                <c:pt idx="11">
                  <c:v>77295.212800000008</c:v>
                </c:pt>
                <c:pt idx="12">
                  <c:v>1863564.0796999999</c:v>
                </c:pt>
                <c:pt idx="13">
                  <c:v>1155386.3507999999</c:v>
                </c:pt>
                <c:pt idx="14">
                  <c:v>1074236.973</c:v>
                </c:pt>
                <c:pt idx="15">
                  <c:v>277329.53539999988</c:v>
                </c:pt>
                <c:pt idx="16">
                  <c:v>819173.43059999985</c:v>
                </c:pt>
                <c:pt idx="17">
                  <c:v>2907579.775799999</c:v>
                </c:pt>
                <c:pt idx="18">
                  <c:v>183986.73240000001</c:v>
                </c:pt>
              </c:numCache>
            </c:numRef>
          </c:bubbleSize>
          <c:bubble3D val="0"/>
          <c:extLst>
            <c:ext xmlns:c15="http://schemas.microsoft.com/office/drawing/2012/chart" uri="{02D57815-91ED-43cb-92C2-25804820EDAC}">
              <c15:datalabelsRange>
                <c15:f>Sheet1!$E$2:$E$29</c15:f>
                <c15:dlblRangeCache>
                  <c:ptCount val="28"/>
                  <c:pt idx="0">
                    <c:v>La Vache Qui Rit Aro Fromage Fondu Boite Ronde Jambon 1X133Gr 8P</c:v>
                  </c:pt>
                  <c:pt idx="1">
                    <c:v>Kiri Creme Fromage Blanc Frais Carre 1X432Gr 24P</c:v>
                  </c:pt>
                  <c:pt idx="2">
                    <c:v>Kiri Creme Fromage Blanc Frais Carre 1X216Gr 12P</c:v>
                  </c:pt>
                  <c:pt idx="3">
                    <c:v>La Vache Qui Rit Nature Fromage Fondu Boite Ronde 1X192Gr 12P</c:v>
                  </c:pt>
                  <c:pt idx="4">
                    <c:v>La Vache Qui Rit Nature Fromage Fondu Boite Ronde 1X256Gr 16P</c:v>
                  </c:pt>
                  <c:pt idx="5">
                    <c:v>La Vache Qui Rit Nature Fromage Fondu Boite Ronde 1X512Gr 24+8P</c:v>
                  </c:pt>
                  <c:pt idx="6">
                    <c:v>La Vache Qui Rit Nature Fromage Fondu Boite Ronde 1X384Gr 24P</c:v>
                  </c:pt>
                  <c:pt idx="7">
                    <c:v>La Vache Qui Rit Nature Fromage Fondu Boite Ronde 1X512Gr 32P</c:v>
                  </c:pt>
                  <c:pt idx="8">
                    <c:v>La Vache Qui Rit Allegee Fromage Fondu Boite Ronde Allege 1X267Gr 16P</c:v>
                  </c:pt>
                  <c:pt idx="9">
                    <c:v>La Vache Qui Rit Nature Fromage Fondu Boite Ronde 1X128Gr 8P</c:v>
                  </c:pt>
                  <c:pt idx="10">
                    <c:v>La Vache Qui Rit Pik Et Croq' Fromage Fondu Dips Boite 1X35Gr 1P</c:v>
                  </c:pt>
                  <c:pt idx="11">
                    <c:v>La Vache Qui Rit Bio Fromage Fondu Boite Ronde 1X128Gr 8P</c:v>
                  </c:pt>
                  <c:pt idx="12">
                    <c:v>Kiri Gouter Fromage Blanc Dips Boite 1X175Gr 5P</c:v>
                  </c:pt>
                  <c:pt idx="13">
                    <c:v>Kiri Gouter Fromage Blanc Dips Boite 1X280Gr 8P</c:v>
                  </c:pt>
                  <c:pt idx="14">
                    <c:v>La Vache Qui Rit Pik Et Croq' Fromage Fondu Dips Boite 1X175Gr 5P</c:v>
                  </c:pt>
                  <c:pt idx="15">
                    <c:v>La Vache Qui Rit Pik Et Croq' Fromage Fondu Dips Boite 1X280Gr 8P</c:v>
                  </c:pt>
                  <c:pt idx="16">
                    <c:v>Kiri Creme Fromage Blanc Frais Carre 1X432Gr 18+6P</c:v>
                  </c:pt>
                  <c:pt idx="17">
                    <c:v>Kiri Creme Fromage Blanc Frais Carre 1X144Gr 8P</c:v>
                  </c:pt>
                  <c:pt idx="18">
                    <c:v>Kiri Bio Fromage Blanc Frais Carre 1X144Gr 8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142440000000001"/>
          <c:min val="3.9776000000000007"/>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0997338301058663"/>
        <c:crossBetween val="midCat"/>
      </c:valAx>
      <c:valAx>
        <c:axId val="1011451359"/>
        <c:scaling>
          <c:orientation val="minMax"/>
          <c:max val="1.20204"/>
          <c:min val="-0.1374399999999999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6.906285003949287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7ECAC4"/>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7ECAC4"/>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006C6D"/>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EBA9-4B23-9A9B-7BDD66C95A53}"/>
              </c:ext>
            </c:extLst>
          </c:dPt>
          <c:dPt>
            <c:idx val="13"/>
            <c:invertIfNegative val="1"/>
            <c:bubble3D val="0"/>
            <c:spPr>
              <a:solidFill>
                <a:srgbClr val="7ECAC4"/>
              </a:solidFill>
            </c:spPr>
            <c:extLst>
              <c:ext xmlns:c16="http://schemas.microsoft.com/office/drawing/2014/chart" uri="{C3380CC4-5D6E-409C-BE32-E72D297353CC}">
                <c16:uniqueId val="{0000001B-EBA9-4B23-9A9B-7BDD66C95A53}"/>
              </c:ext>
            </c:extLst>
          </c:dPt>
          <c:dPt>
            <c:idx val="14"/>
            <c:invertIfNegative val="1"/>
            <c:bubble3D val="0"/>
            <c:spPr>
              <a:solidFill>
                <a:srgbClr val="006C6D"/>
              </a:solidFill>
            </c:spPr>
            <c:extLst>
              <c:ext xmlns:c16="http://schemas.microsoft.com/office/drawing/2014/chart" uri="{C3380CC4-5D6E-409C-BE32-E72D297353CC}">
                <c16:uniqueId val="{0000001D-EBA9-4B23-9A9B-7BDD66C95A53}"/>
              </c:ext>
            </c:extLst>
          </c:dPt>
          <c:dPt>
            <c:idx val="15"/>
            <c:invertIfNegative val="1"/>
            <c:bubble3D val="0"/>
            <c:spPr>
              <a:solidFill>
                <a:srgbClr val="006C6D"/>
              </a:solidFill>
            </c:spPr>
            <c:extLst>
              <c:ext xmlns:c16="http://schemas.microsoft.com/office/drawing/2014/chart" uri="{C3380CC4-5D6E-409C-BE32-E72D297353CC}">
                <c16:uniqueId val="{0000001F-EBA9-4B23-9A9B-7BDD66C95A53}"/>
              </c:ext>
            </c:extLst>
          </c:dPt>
          <c:dPt>
            <c:idx val="16"/>
            <c:invertIfNegative val="1"/>
            <c:bubble3D val="0"/>
            <c:spPr>
              <a:solidFill>
                <a:srgbClr val="006C6D"/>
              </a:solidFill>
            </c:spPr>
            <c:extLst>
              <c:ext xmlns:c16="http://schemas.microsoft.com/office/drawing/2014/chart" uri="{C3380CC4-5D6E-409C-BE32-E72D297353CC}">
                <c16:uniqueId val="{00000021-EBA9-4B23-9A9B-7BDD66C95A53}"/>
              </c:ext>
            </c:extLst>
          </c:dPt>
          <c:dPt>
            <c:idx val="17"/>
            <c:invertIfNegative val="1"/>
            <c:bubble3D val="0"/>
            <c:spPr>
              <a:solidFill>
                <a:srgbClr val="006C6D"/>
              </a:solidFill>
            </c:spPr>
            <c:extLst>
              <c:ext xmlns:c16="http://schemas.microsoft.com/office/drawing/2014/chart" uri="{C3380CC4-5D6E-409C-BE32-E72D297353CC}">
                <c16:uniqueId val="{00000023-EBA9-4B23-9A9B-7BDD66C95A53}"/>
              </c:ext>
            </c:extLst>
          </c:dPt>
          <c:dPt>
            <c:idx val="18"/>
            <c:invertIfNegative val="1"/>
            <c:bubble3D val="0"/>
            <c:spPr>
              <a:solidFill>
                <a:srgbClr val="006C6D"/>
              </a:solidFill>
            </c:spPr>
            <c:extLst>
              <c:ext xmlns:c16="http://schemas.microsoft.com/office/drawing/2014/chart" uri="{C3380CC4-5D6E-409C-BE32-E72D297353CC}">
                <c16:uniqueId val="{00000025-EBA9-4B23-9A9B-7BDD66C95A53}"/>
              </c:ext>
            </c:extLst>
          </c:dPt>
          <c:dPt>
            <c:idx val="19"/>
            <c:invertIfNegative val="1"/>
            <c:bubble3D val="0"/>
            <c:spPr>
              <a:solidFill>
                <a:srgbClr val="C00000"/>
              </a:solidFill>
            </c:spPr>
            <c:extLst>
              <c:ext xmlns:c16="http://schemas.microsoft.com/office/drawing/2014/chart" uri="{C3380CC4-5D6E-409C-BE32-E72D297353CC}">
                <c16:uniqueId val="{00000027-EBA9-4B23-9A9B-7BDD66C95A53}"/>
              </c:ext>
            </c:extLst>
          </c:dPt>
          <c:dPt>
            <c:idx val="20"/>
            <c:invertIfNegative val="1"/>
            <c:bubble3D val="0"/>
            <c:spPr>
              <a:solidFill>
                <a:srgbClr val="006C6D"/>
              </a:solidFill>
            </c:spPr>
            <c:extLst>
              <c:ext xmlns:c16="http://schemas.microsoft.com/office/drawing/2014/chart" uri="{C3380CC4-5D6E-409C-BE32-E72D297353CC}">
                <c16:uniqueId val="{00000029-EBA9-4B23-9A9B-7BDD66C95A53}"/>
              </c:ext>
            </c:extLst>
          </c:dPt>
          <c:dPt>
            <c:idx val="21"/>
            <c:invertIfNegative val="1"/>
            <c:bubble3D val="0"/>
            <c:spPr>
              <a:solidFill>
                <a:srgbClr val="006C6D"/>
              </a:solidFill>
            </c:spPr>
            <c:extLst>
              <c:ext xmlns:c16="http://schemas.microsoft.com/office/drawing/2014/chart" uri="{C3380CC4-5D6E-409C-BE32-E72D297353CC}">
                <c16:uniqueId val="{0000002B-EBA9-4B23-9A9B-7BDD66C95A53}"/>
              </c:ext>
            </c:extLst>
          </c:dPt>
          <c:dPt>
            <c:idx val="22"/>
            <c:invertIfNegative val="1"/>
            <c:bubble3D val="0"/>
            <c:spPr>
              <a:solidFill>
                <a:srgbClr val="006C6D"/>
              </a:solidFill>
            </c:spPr>
            <c:extLst>
              <c:ext xmlns:c16="http://schemas.microsoft.com/office/drawing/2014/chart" uri="{C3380CC4-5D6E-409C-BE32-E72D297353CC}">
                <c16:uniqueId val="{0000002D-EBA9-4B23-9A9B-7BDD66C95A53}"/>
              </c:ext>
            </c:extLst>
          </c:dPt>
          <c:dPt>
            <c:idx val="23"/>
            <c:invertIfNegative val="1"/>
            <c:bubble3D val="0"/>
            <c:spPr>
              <a:solidFill>
                <a:srgbClr val="006C6D"/>
              </a:solidFill>
            </c:spPr>
            <c:extLst>
              <c:ext xmlns:c16="http://schemas.microsoft.com/office/drawing/2014/chart" uri="{C3380CC4-5D6E-409C-BE32-E72D297353CC}">
                <c16:uniqueId val="{0000002F-EBA9-4B23-9A9B-7BDD66C95A53}"/>
              </c:ext>
            </c:extLst>
          </c:dPt>
          <c:dPt>
            <c:idx val="24"/>
            <c:invertIfNegative val="1"/>
            <c:bubble3D val="0"/>
            <c:spPr>
              <a:solidFill>
                <a:srgbClr val="006C6D"/>
              </a:solidFill>
            </c:spPr>
            <c:extLst>
              <c:ext xmlns:c16="http://schemas.microsoft.com/office/drawing/2014/chart" uri="{C3380CC4-5D6E-409C-BE32-E72D297353CC}">
                <c16:uniqueId val="{00000031-EBA9-4B23-9A9B-7BDD66C95A53}"/>
              </c:ext>
            </c:extLst>
          </c:dPt>
          <c:dPt>
            <c:idx val="25"/>
            <c:invertIfNegative val="1"/>
            <c:bubble3D val="0"/>
            <c:spPr>
              <a:solidFill>
                <a:srgbClr val="006C6D"/>
              </a:solidFill>
            </c:spPr>
            <c:extLst>
              <c:ext xmlns:c16="http://schemas.microsoft.com/office/drawing/2014/chart" uri="{C3380CC4-5D6E-409C-BE32-E72D297353CC}">
                <c16:uniqueId val="{00000033-EBA9-4B23-9A9B-7BDD66C95A53}"/>
              </c:ext>
            </c:extLst>
          </c:dPt>
          <c:dPt>
            <c:idx val="26"/>
            <c:invertIfNegative val="1"/>
            <c:bubble3D val="0"/>
            <c:spPr>
              <a:solidFill>
                <a:srgbClr val="FF8080"/>
              </a:solidFill>
            </c:spPr>
            <c:extLst>
              <c:ext xmlns:c16="http://schemas.microsoft.com/office/drawing/2014/chart" uri="{C3380CC4-5D6E-409C-BE32-E72D297353CC}">
                <c16:uniqueId val="{00000035-EBA9-4B23-9A9B-7BDD66C95A53}"/>
              </c:ext>
            </c:extLst>
          </c:dPt>
          <c:dPt>
            <c:idx val="27"/>
            <c:invertIfNegative val="1"/>
            <c:bubble3D val="0"/>
            <c:spPr>
              <a:solidFill>
                <a:srgbClr val="C00000"/>
              </a:solidFill>
            </c:spPr>
            <c:extLst>
              <c:ext xmlns:c16="http://schemas.microsoft.com/office/drawing/2014/chart" uri="{C3380CC4-5D6E-409C-BE32-E72D297353CC}">
                <c16:uniqueId val="{00000037-EBA9-4B23-9A9B-7BDD66C95A53}"/>
              </c:ext>
            </c:extLst>
          </c:dPt>
          <c:dPt>
            <c:idx val="28"/>
            <c:invertIfNegative val="1"/>
            <c:bubble3D val="0"/>
            <c:spPr>
              <a:solidFill>
                <a:srgbClr val="006C6D"/>
              </a:solidFill>
            </c:spPr>
            <c:extLst>
              <c:ext xmlns:c16="http://schemas.microsoft.com/office/drawing/2014/chart" uri="{C3380CC4-5D6E-409C-BE32-E72D297353CC}">
                <c16:uniqueId val="{00000039-EBA9-4B23-9A9B-7BDD66C95A53}"/>
              </c:ext>
            </c:extLst>
          </c:dPt>
          <c:dPt>
            <c:idx val="29"/>
            <c:invertIfNegative val="1"/>
            <c:bubble3D val="0"/>
            <c:spPr>
              <a:solidFill>
                <a:srgbClr val="006C6D"/>
              </a:solidFill>
            </c:spPr>
            <c:extLst>
              <c:ext xmlns:c16="http://schemas.microsoft.com/office/drawing/2014/chart" uri="{C3380CC4-5D6E-409C-BE32-E72D297353CC}">
                <c16:uniqueId val="{0000003B-EBA9-4B23-9A9B-7BDD66C95A53}"/>
              </c:ext>
            </c:extLst>
          </c:dPt>
          <c:dPt>
            <c:idx val="30"/>
            <c:invertIfNegative val="1"/>
            <c:bubble3D val="0"/>
            <c:spPr>
              <a:solidFill>
                <a:srgbClr val="C00000"/>
              </a:solidFill>
            </c:spPr>
            <c:extLst>
              <c:ext xmlns:c16="http://schemas.microsoft.com/office/drawing/2014/chart" uri="{C3380CC4-5D6E-409C-BE32-E72D297353CC}">
                <c16:uniqueId val="{0000003D-EBA9-4B23-9A9B-7BDD66C95A53}"/>
              </c:ext>
            </c:extLst>
          </c:dPt>
          <c:dPt>
            <c:idx val="31"/>
            <c:invertIfNegative val="1"/>
            <c:bubble3D val="0"/>
            <c:spPr>
              <a:solidFill>
                <a:srgbClr val="7ECAC4"/>
              </a:solidFill>
            </c:spPr>
            <c:extLst>
              <c:ext xmlns:c16="http://schemas.microsoft.com/office/drawing/2014/chart" uri="{C3380CC4-5D6E-409C-BE32-E72D297353CC}">
                <c16:uniqueId val="{0000003F-EBA9-4B23-9A9B-7BDD66C95A53}"/>
              </c:ext>
            </c:extLst>
          </c:dPt>
          <c:dPt>
            <c:idx val="32"/>
            <c:invertIfNegative val="1"/>
            <c:bubble3D val="0"/>
            <c:spPr>
              <a:solidFill>
                <a:srgbClr val="006C6D"/>
              </a:solidFill>
            </c:spPr>
            <c:extLst>
              <c:ext xmlns:c16="http://schemas.microsoft.com/office/drawing/2014/chart" uri="{C3380CC4-5D6E-409C-BE32-E72D297353CC}">
                <c16:uniqueId val="{00000041-EBA9-4B23-9A9B-7BDD66C95A53}"/>
              </c:ext>
            </c:extLst>
          </c:dPt>
          <c:dPt>
            <c:idx val="33"/>
            <c:invertIfNegative val="1"/>
            <c:bubble3D val="0"/>
            <c:spPr>
              <a:solidFill>
                <a:srgbClr val="006C6D"/>
              </a:solidFill>
            </c:spPr>
            <c:extLst>
              <c:ext xmlns:c16="http://schemas.microsoft.com/office/drawing/2014/chart" uri="{C3380CC4-5D6E-409C-BE32-E72D297353CC}">
                <c16:uniqueId val="{00000043-EBA9-4B23-9A9B-7BDD66C95A53}"/>
              </c:ext>
            </c:extLst>
          </c:dPt>
          <c:dPt>
            <c:idx val="34"/>
            <c:invertIfNegative val="1"/>
            <c:bubble3D val="0"/>
            <c:spPr>
              <a:solidFill>
                <a:srgbClr val="006C6D"/>
              </a:solidFill>
            </c:spPr>
            <c:extLst>
              <c:ext xmlns:c16="http://schemas.microsoft.com/office/drawing/2014/chart" uri="{C3380CC4-5D6E-409C-BE32-E72D297353CC}">
                <c16:uniqueId val="{00000045-EBA9-4B23-9A9B-7BDD66C95A53}"/>
              </c:ext>
            </c:extLst>
          </c:dPt>
          <c:dPt>
            <c:idx val="35"/>
            <c:invertIfNegative val="1"/>
            <c:bubble3D val="0"/>
            <c:spPr>
              <a:solidFill>
                <a:srgbClr val="006C6D"/>
              </a:solidFill>
            </c:spPr>
            <c:extLst>
              <c:ext xmlns:c16="http://schemas.microsoft.com/office/drawing/2014/chart" uri="{C3380CC4-5D6E-409C-BE32-E72D297353CC}">
                <c16:uniqueId val="{00000047-EBA9-4B23-9A9B-7BDD66C95A53}"/>
              </c:ext>
            </c:extLst>
          </c:dPt>
          <c:dPt>
            <c:idx val="36"/>
            <c:invertIfNegative val="1"/>
            <c:bubble3D val="0"/>
            <c:spPr>
              <a:solidFill>
                <a:srgbClr val="006C6D"/>
              </a:solidFill>
            </c:spPr>
            <c:extLst>
              <c:ext xmlns:c16="http://schemas.microsoft.com/office/drawing/2014/chart" uri="{C3380CC4-5D6E-409C-BE32-E72D297353CC}">
                <c16:uniqueId val="{00000049-EBA9-4B23-9A9B-7BDD66C95A53}"/>
              </c:ext>
            </c:extLst>
          </c:dPt>
          <c:dPt>
            <c:idx val="37"/>
            <c:invertIfNegative val="1"/>
            <c:bubble3D val="0"/>
            <c:spPr>
              <a:solidFill>
                <a:srgbClr val="006C6D"/>
              </a:solidFill>
            </c:spPr>
            <c:extLst>
              <c:ext xmlns:c16="http://schemas.microsoft.com/office/drawing/2014/chart" uri="{C3380CC4-5D6E-409C-BE32-E72D297353CC}">
                <c16:uniqueId val="{0000004B-EBA9-4B23-9A9B-7BDD66C95A53}"/>
              </c:ext>
            </c:extLst>
          </c:dPt>
          <c:dPt>
            <c:idx val="38"/>
            <c:invertIfNegative val="1"/>
            <c:bubble3D val="0"/>
            <c:spPr>
              <a:solidFill>
                <a:srgbClr val="C00000"/>
              </a:solidFill>
            </c:spPr>
            <c:extLst>
              <c:ext xmlns:c16="http://schemas.microsoft.com/office/drawing/2014/chart" uri="{C3380CC4-5D6E-409C-BE32-E72D297353CC}">
                <c16:uniqueId val="{0000004D-EBA9-4B23-9A9B-7BDD66C95A53}"/>
              </c:ext>
            </c:extLst>
          </c:dPt>
          <c:dPt>
            <c:idx val="39"/>
            <c:invertIfNegative val="1"/>
            <c:bubble3D val="0"/>
            <c:spPr>
              <a:solidFill>
                <a:srgbClr val="006C6D"/>
              </a:solidFill>
            </c:spPr>
            <c:extLst>
              <c:ext xmlns:c16="http://schemas.microsoft.com/office/drawing/2014/chart" uri="{C3380CC4-5D6E-409C-BE32-E72D297353CC}">
                <c16:uniqueId val="{0000004F-EBA9-4B23-9A9B-7BDD66C95A53}"/>
              </c:ext>
            </c:extLst>
          </c:dPt>
          <c:dPt>
            <c:idx val="40"/>
            <c:invertIfNegative val="1"/>
            <c:bubble3D val="0"/>
            <c:spPr>
              <a:solidFill>
                <a:srgbClr val="006C6D"/>
              </a:solidFill>
            </c:spPr>
            <c:extLst>
              <c:ext xmlns:c16="http://schemas.microsoft.com/office/drawing/2014/chart" uri="{C3380CC4-5D6E-409C-BE32-E72D297353CC}">
                <c16:uniqueId val="{00000051-EBA9-4B23-9A9B-7BDD66C95A53}"/>
              </c:ext>
            </c:extLst>
          </c:dPt>
          <c:dPt>
            <c:idx val="41"/>
            <c:invertIfNegative val="1"/>
            <c:bubble3D val="0"/>
            <c:spPr>
              <a:solidFill>
                <a:srgbClr val="006C6D"/>
              </a:solidFill>
            </c:spPr>
            <c:extLst>
              <c:ext xmlns:c16="http://schemas.microsoft.com/office/drawing/2014/chart" uri="{C3380CC4-5D6E-409C-BE32-E72D297353CC}">
                <c16:uniqueId val="{00000053-EBA9-4B23-9A9B-7BDD66C95A53}"/>
              </c:ext>
            </c:extLst>
          </c:dPt>
          <c:dPt>
            <c:idx val="42"/>
            <c:invertIfNegative val="1"/>
            <c:bubble3D val="0"/>
            <c:spPr>
              <a:solidFill>
                <a:srgbClr val="C00000"/>
              </a:solidFill>
            </c:spPr>
            <c:extLst>
              <c:ext xmlns:c16="http://schemas.microsoft.com/office/drawing/2014/chart" uri="{C3380CC4-5D6E-409C-BE32-E72D297353CC}">
                <c16:uniqueId val="{00000055-EBA9-4B23-9A9B-7BDD66C95A53}"/>
              </c:ext>
            </c:extLst>
          </c:dPt>
          <c:dPt>
            <c:idx val="43"/>
            <c:invertIfNegative val="1"/>
            <c:bubble3D val="0"/>
            <c:spPr>
              <a:solidFill>
                <a:srgbClr val="006C6D"/>
              </a:solidFill>
            </c:spPr>
            <c:extLst>
              <c:ext xmlns:c16="http://schemas.microsoft.com/office/drawing/2014/chart" uri="{C3380CC4-5D6E-409C-BE32-E72D297353CC}">
                <c16:uniqueId val="{00000057-EBA9-4B23-9A9B-7BDD66C95A53}"/>
              </c:ext>
            </c:extLst>
          </c:dPt>
          <c:dPt>
            <c:idx val="44"/>
            <c:invertIfNegative val="1"/>
            <c:bubble3D val="0"/>
            <c:spPr>
              <a:solidFill>
                <a:srgbClr val="C00000"/>
              </a:solidFill>
            </c:spPr>
            <c:extLst>
              <c:ext xmlns:c16="http://schemas.microsoft.com/office/drawing/2014/chart" uri="{C3380CC4-5D6E-409C-BE32-E72D297353CC}">
                <c16:uniqueId val="{00000059-EBA9-4B23-9A9B-7BDD66C95A53}"/>
              </c:ext>
            </c:extLst>
          </c:dPt>
          <c:dPt>
            <c:idx val="45"/>
            <c:invertIfNegative val="1"/>
            <c:bubble3D val="0"/>
            <c:spPr>
              <a:solidFill>
                <a:srgbClr val="006C6D"/>
              </a:solidFill>
            </c:spPr>
            <c:extLst>
              <c:ext xmlns:c16="http://schemas.microsoft.com/office/drawing/2014/chart" uri="{C3380CC4-5D6E-409C-BE32-E72D297353CC}">
                <c16:uniqueId val="{0000005B-EBA9-4B23-9A9B-7BDD66C95A53}"/>
              </c:ext>
            </c:extLst>
          </c:dPt>
          <c:dPt>
            <c:idx val="46"/>
            <c:invertIfNegative val="1"/>
            <c:bubble3D val="0"/>
            <c:spPr>
              <a:solidFill>
                <a:srgbClr val="006C6D"/>
              </a:solidFill>
            </c:spPr>
            <c:extLst>
              <c:ext xmlns:c16="http://schemas.microsoft.com/office/drawing/2014/chart" uri="{C3380CC4-5D6E-409C-BE32-E72D297353CC}">
                <c16:uniqueId val="{0000005D-EBA9-4B23-9A9B-7BDD66C95A53}"/>
              </c:ext>
            </c:extLst>
          </c:dPt>
          <c:dPt>
            <c:idx val="47"/>
            <c:invertIfNegative val="1"/>
            <c:bubble3D val="0"/>
            <c:spPr>
              <a:solidFill>
                <a:srgbClr val="C00000"/>
              </a:solidFill>
            </c:spPr>
            <c:extLst>
              <c:ext xmlns:c16="http://schemas.microsoft.com/office/drawing/2014/chart" uri="{C3380CC4-5D6E-409C-BE32-E72D297353CC}">
                <c16:uniqueId val="{0000005F-EBA9-4B23-9A9B-7BDD66C95A53}"/>
              </c:ext>
            </c:extLst>
          </c:dPt>
          <c:dPt>
            <c:idx val="48"/>
            <c:invertIfNegative val="1"/>
            <c:bubble3D val="0"/>
            <c:spPr>
              <a:solidFill>
                <a:srgbClr val="C00000"/>
              </a:solidFill>
            </c:spPr>
            <c:extLst>
              <c:ext xmlns:c16="http://schemas.microsoft.com/office/drawing/2014/chart" uri="{C3380CC4-5D6E-409C-BE32-E72D297353CC}">
                <c16:uniqueId val="{00000061-EBA9-4B23-9A9B-7BDD66C95A53}"/>
              </c:ext>
            </c:extLst>
          </c:dPt>
          <c:dPt>
            <c:idx val="49"/>
            <c:invertIfNegative val="1"/>
            <c:bubble3D val="0"/>
            <c:spPr>
              <a:solidFill>
                <a:srgbClr val="C00000"/>
              </a:solidFill>
            </c:spPr>
            <c:extLst>
              <c:ext xmlns:c16="http://schemas.microsoft.com/office/drawing/2014/chart" uri="{C3380CC4-5D6E-409C-BE32-E72D297353CC}">
                <c16:uniqueId val="{00000063-EBA9-4B23-9A9B-7BDD66C95A53}"/>
              </c:ext>
            </c:extLst>
          </c:dPt>
          <c:dPt>
            <c:idx val="50"/>
            <c:invertIfNegative val="1"/>
            <c:bubble3D val="0"/>
            <c:spPr>
              <a:solidFill>
                <a:srgbClr val="C00000"/>
              </a:solidFill>
            </c:spPr>
            <c:extLst>
              <c:ext xmlns:c16="http://schemas.microsoft.com/office/drawing/2014/chart" uri="{C3380CC4-5D6E-409C-BE32-E72D297353CC}">
                <c16:uniqueId val="{00000065-EBA9-4B23-9A9B-7BDD66C95A53}"/>
              </c:ext>
            </c:extLst>
          </c:dPt>
          <c:dLbls>
            <c:dLbl>
              <c:idx val="0"/>
              <c:tx>
                <c:rich>
                  <a:bodyPr/>
                  <a:lstStyle/>
                  <a:p>
                    <a:fld id="{78682EB9-F544-4E39-A13F-C33AFF1DD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1D9BDED-B734-440E-A3E2-D01594DA9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2DE219E-CED2-4621-A3A1-A803D571E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27952C1-3B20-48CA-89B7-C0EFB22A6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FF53BCC-33EA-4957-B608-886B05695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535363A-7A40-40AB-8F07-4F0A684CC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C0B7D31-64C6-41E1-B558-3A3D37C59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F23A468-FA3E-4624-A157-46A3A2CD2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889B475F-2994-429C-AC7F-BE6832753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BC1BAB12-D32D-4DD3-996A-90D24D614C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79324863-B81F-45A4-BF3D-3B44111AA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13A0E5F2-9C38-4B63-8F2E-90142FB8C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408E3EAB-D579-4075-8C09-A7309D344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EBA9-4B23-9A9B-7BDD66C95A53}"/>
                </c:ext>
              </c:extLst>
            </c:dLbl>
            <c:dLbl>
              <c:idx val="13"/>
              <c:tx>
                <c:rich>
                  <a:bodyPr/>
                  <a:lstStyle/>
                  <a:p>
                    <a:fld id="{D4B03EA8-1CC7-4E1F-8654-2BCA5B562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EBA9-4B23-9A9B-7BDD66C95A53}"/>
                </c:ext>
              </c:extLst>
            </c:dLbl>
            <c:dLbl>
              <c:idx val="14"/>
              <c:tx>
                <c:rich>
                  <a:bodyPr/>
                  <a:lstStyle/>
                  <a:p>
                    <a:fld id="{85A3D4B6-548C-46C8-ACCD-10BE22E25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EBA9-4B23-9A9B-7BDD66C95A53}"/>
                </c:ext>
              </c:extLst>
            </c:dLbl>
            <c:dLbl>
              <c:idx val="15"/>
              <c:tx>
                <c:rich>
                  <a:bodyPr/>
                  <a:lstStyle/>
                  <a:p>
                    <a:fld id="{0AC49730-A033-4CAD-8497-2BC664D05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EBA9-4B23-9A9B-7BDD66C95A53}"/>
                </c:ext>
              </c:extLst>
            </c:dLbl>
            <c:dLbl>
              <c:idx val="16"/>
              <c:tx>
                <c:rich>
                  <a:bodyPr/>
                  <a:lstStyle/>
                  <a:p>
                    <a:fld id="{7DEDAE74-2A1B-44A3-8FDC-2D23AA3FF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EBA9-4B23-9A9B-7BDD66C95A53}"/>
                </c:ext>
              </c:extLst>
            </c:dLbl>
            <c:dLbl>
              <c:idx val="17"/>
              <c:tx>
                <c:rich>
                  <a:bodyPr/>
                  <a:lstStyle/>
                  <a:p>
                    <a:fld id="{B8D159C4-67E2-4320-8656-268C38AAB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EBA9-4B23-9A9B-7BDD66C95A53}"/>
                </c:ext>
              </c:extLst>
            </c:dLbl>
            <c:dLbl>
              <c:idx val="18"/>
              <c:tx>
                <c:rich>
                  <a:bodyPr/>
                  <a:lstStyle/>
                  <a:p>
                    <a:fld id="{ADB7ECBB-D2CA-4FCC-A892-03B511091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EBA9-4B23-9A9B-7BDD66C95A53}"/>
                </c:ext>
              </c:extLst>
            </c:dLbl>
            <c:dLbl>
              <c:idx val="19"/>
              <c:tx>
                <c:rich>
                  <a:bodyPr/>
                  <a:lstStyle/>
                  <a:p>
                    <a:fld id="{CFC56CA6-76E8-4B3B-A221-DD0E453CA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EBA9-4B23-9A9B-7BDD66C95A53}"/>
                </c:ext>
              </c:extLst>
            </c:dLbl>
            <c:dLbl>
              <c:idx val="20"/>
              <c:tx>
                <c:rich>
                  <a:bodyPr/>
                  <a:lstStyle/>
                  <a:p>
                    <a:fld id="{4D61ECD7-B317-4F1F-94DE-84D05358E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EBA9-4B23-9A9B-7BDD66C95A53}"/>
                </c:ext>
              </c:extLst>
            </c:dLbl>
            <c:dLbl>
              <c:idx val="21"/>
              <c:tx>
                <c:rich>
                  <a:bodyPr/>
                  <a:lstStyle/>
                  <a:p>
                    <a:fld id="{54986EF5-BE65-4013-9D6D-5428C67A9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EBA9-4B23-9A9B-7BDD66C95A53}"/>
                </c:ext>
              </c:extLst>
            </c:dLbl>
            <c:dLbl>
              <c:idx val="22"/>
              <c:tx>
                <c:rich>
                  <a:bodyPr/>
                  <a:lstStyle/>
                  <a:p>
                    <a:fld id="{25118DDC-4BBA-4CB8-8E25-0F0BAF34F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EBA9-4B23-9A9B-7BDD66C95A53}"/>
                </c:ext>
              </c:extLst>
            </c:dLbl>
            <c:dLbl>
              <c:idx val="23"/>
              <c:tx>
                <c:rich>
                  <a:bodyPr/>
                  <a:lstStyle/>
                  <a:p>
                    <a:fld id="{4928E4AE-7792-4C14-9E43-30EF189D5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EBA9-4B23-9A9B-7BDD66C95A53}"/>
                </c:ext>
              </c:extLst>
            </c:dLbl>
            <c:dLbl>
              <c:idx val="24"/>
              <c:tx>
                <c:rich>
                  <a:bodyPr/>
                  <a:lstStyle/>
                  <a:p>
                    <a:fld id="{12DE1811-64AD-429B-B35F-E4EC60A61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EBA9-4B23-9A9B-7BDD66C95A53}"/>
                </c:ext>
              </c:extLst>
            </c:dLbl>
            <c:dLbl>
              <c:idx val="25"/>
              <c:tx>
                <c:rich>
                  <a:bodyPr/>
                  <a:lstStyle/>
                  <a:p>
                    <a:fld id="{8B6E0B4C-D07B-4D5F-95F1-42B4FE6E1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EBA9-4B23-9A9B-7BDD66C95A53}"/>
                </c:ext>
              </c:extLst>
            </c:dLbl>
            <c:dLbl>
              <c:idx val="26"/>
              <c:tx>
                <c:rich>
                  <a:bodyPr/>
                  <a:lstStyle/>
                  <a:p>
                    <a:fld id="{AD7D2C88-28CB-41DE-AA65-C3909E21F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EBA9-4B23-9A9B-7BDD66C95A53}"/>
                </c:ext>
              </c:extLst>
            </c:dLbl>
            <c:dLbl>
              <c:idx val="27"/>
              <c:tx>
                <c:rich>
                  <a:bodyPr/>
                  <a:lstStyle/>
                  <a:p>
                    <a:fld id="{7A624FFA-A2CB-490D-9FC9-8DAC4DC4F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EBA9-4B23-9A9B-7BDD66C95A53}"/>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EBA9-4B23-9A9B-7BDD66C95A53}"/>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EBA9-4B23-9A9B-7BDD66C95A53}"/>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EBA9-4B23-9A9B-7BDD66C95A53}"/>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EBA9-4B23-9A9B-7BDD66C95A53}"/>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EBA9-4B23-9A9B-7BDD66C95A53}"/>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EBA9-4B23-9A9B-7BDD66C95A53}"/>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EBA9-4B23-9A9B-7BDD66C95A53}"/>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EBA9-4B23-9A9B-7BDD66C95A53}"/>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EBA9-4B23-9A9B-7BDD66C95A53}"/>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EBA9-4B23-9A9B-7BDD66C95A53}"/>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EBA9-4B23-9A9B-7BDD66C95A53}"/>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EBA9-4B23-9A9B-7BDD66C95A53}"/>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EBA9-4B23-9A9B-7BDD66C95A53}"/>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EBA9-4B23-9A9B-7BDD66C95A53}"/>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EBA9-4B23-9A9B-7BDD66C95A53}"/>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EBA9-4B23-9A9B-7BDD66C95A53}"/>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EBA9-4B23-9A9B-7BDD66C95A53}"/>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B-EBA9-4B23-9A9B-7BDD66C95A53}"/>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D-EBA9-4B23-9A9B-7BDD66C95A53}"/>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F-EBA9-4B23-9A9B-7BDD66C95A53}"/>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1-EBA9-4B23-9A9B-7BDD66C95A53}"/>
                </c:ext>
              </c:extLst>
            </c:dLbl>
            <c:dLbl>
              <c:idx val="4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3-EBA9-4B23-9A9B-7BDD66C95A53}"/>
                </c:ext>
              </c:extLst>
            </c:dLbl>
            <c:dLbl>
              <c:idx val="5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65-EBA9-4B23-9A9B-7BDD66C95A53}"/>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2</c:f>
              <c:numCache>
                <c:formatCode>General</c:formatCode>
                <c:ptCount val="51"/>
                <c:pt idx="0">
                  <c:v>9.9535999999999998</c:v>
                </c:pt>
                <c:pt idx="1">
                  <c:v>9.3444000000000003</c:v>
                </c:pt>
                <c:pt idx="2">
                  <c:v>7.6619999999999999</c:v>
                </c:pt>
                <c:pt idx="3">
                  <c:v>9.5295000000000005</c:v>
                </c:pt>
                <c:pt idx="4">
                  <c:v>8.5922000000000001</c:v>
                </c:pt>
                <c:pt idx="5">
                  <c:v>9.4281000000000006</c:v>
                </c:pt>
                <c:pt idx="6">
                  <c:v>8.8962000000000003</c:v>
                </c:pt>
                <c:pt idx="7">
                  <c:v>5.8750999999999998</c:v>
                </c:pt>
                <c:pt idx="8">
                  <c:v>9.1408000000000005</c:v>
                </c:pt>
                <c:pt idx="9">
                  <c:v>8.0395000000000003</c:v>
                </c:pt>
                <c:pt idx="10">
                  <c:v>8.5373000000000001</c:v>
                </c:pt>
                <c:pt idx="11">
                  <c:v>5.2046000000000001</c:v>
                </c:pt>
                <c:pt idx="12">
                  <c:v>6.1547000000000001</c:v>
                </c:pt>
                <c:pt idx="13">
                  <c:v>4.9720000000000004</c:v>
                </c:pt>
                <c:pt idx="14">
                  <c:v>6.9996999999999998</c:v>
                </c:pt>
                <c:pt idx="15">
                  <c:v>8.7011000000000003</c:v>
                </c:pt>
                <c:pt idx="16">
                  <c:v>17.6187</c:v>
                </c:pt>
                <c:pt idx="17">
                  <c:v>10.275</c:v>
                </c:pt>
                <c:pt idx="18">
                  <c:v>8.9215</c:v>
                </c:pt>
                <c:pt idx="19">
                  <c:v>9.6654999999999998</c:v>
                </c:pt>
                <c:pt idx="20">
                  <c:v>7.4813999999999998</c:v>
                </c:pt>
                <c:pt idx="21">
                  <c:v>8.0606000000000009</c:v>
                </c:pt>
                <c:pt idx="22">
                  <c:v>7.8818999999999999</c:v>
                </c:pt>
                <c:pt idx="23">
                  <c:v>8.1347000000000005</c:v>
                </c:pt>
                <c:pt idx="24">
                  <c:v>6.1677</c:v>
                </c:pt>
                <c:pt idx="25">
                  <c:v>9.8193000000000001</c:v>
                </c:pt>
                <c:pt idx="26">
                  <c:v>10.297599999999999</c:v>
                </c:pt>
                <c:pt idx="27">
                  <c:v>9.8752999999999993</c:v>
                </c:pt>
                <c:pt idx="28">
                  <c:v>11.127000000000001</c:v>
                </c:pt>
                <c:pt idx="29">
                  <c:v>9.0464000000000002</c:v>
                </c:pt>
                <c:pt idx="30">
                  <c:v>7.8868999999999998</c:v>
                </c:pt>
                <c:pt idx="31">
                  <c:v>9.5960000000000001</c:v>
                </c:pt>
                <c:pt idx="32">
                  <c:v>10.1904</c:v>
                </c:pt>
                <c:pt idx="33">
                  <c:v>10.56</c:v>
                </c:pt>
                <c:pt idx="34">
                  <c:v>9.0784000000000002</c:v>
                </c:pt>
                <c:pt idx="35">
                  <c:v>10.6249</c:v>
                </c:pt>
                <c:pt idx="36">
                  <c:v>21.470600000000001</c:v>
                </c:pt>
                <c:pt idx="37">
                  <c:v>9.5538000000000007</c:v>
                </c:pt>
                <c:pt idx="38">
                  <c:v>8.7880000000000003</c:v>
                </c:pt>
                <c:pt idx="39">
                  <c:v>20.922599999999999</c:v>
                </c:pt>
                <c:pt idx="40">
                  <c:v>8.5708000000000002</c:v>
                </c:pt>
                <c:pt idx="41">
                  <c:v>9.9842999999999993</c:v>
                </c:pt>
                <c:pt idx="42">
                  <c:v>14.4495</c:v>
                </c:pt>
                <c:pt idx="43">
                  <c:v>6.4592999999999998</c:v>
                </c:pt>
                <c:pt idx="44">
                  <c:v>6.8597000000000001</c:v>
                </c:pt>
                <c:pt idx="45">
                  <c:v>6.0998999999999999</c:v>
                </c:pt>
                <c:pt idx="46">
                  <c:v>7.7256</c:v>
                </c:pt>
                <c:pt idx="47">
                  <c:v>7.8288000000000002</c:v>
                </c:pt>
                <c:pt idx="48">
                  <c:v>10.465199999999999</c:v>
                </c:pt>
                <c:pt idx="49">
                  <c:v>9.5687999999999995</c:v>
                </c:pt>
                <c:pt idx="50">
                  <c:v>19.629000000000001</c:v>
                </c:pt>
              </c:numCache>
            </c:numRef>
          </c:xVal>
          <c:yVal>
            <c:numRef>
              <c:f>Sheet1!$B$2:$B$52</c:f>
              <c:numCache>
                <c:formatCode>General</c:formatCode>
                <c:ptCount val="51"/>
                <c:pt idx="0">
                  <c:v>0.33229999999999998</c:v>
                </c:pt>
                <c:pt idx="1">
                  <c:v>0.39789999999999998</c:v>
                </c:pt>
                <c:pt idx="2">
                  <c:v>0.1164</c:v>
                </c:pt>
                <c:pt idx="3">
                  <c:v>0.37059999999999998</c:v>
                </c:pt>
                <c:pt idx="4">
                  <c:v>0.26329999999999998</c:v>
                </c:pt>
                <c:pt idx="5">
                  <c:v>0.34</c:v>
                </c:pt>
                <c:pt idx="6">
                  <c:v>0.3397</c:v>
                </c:pt>
                <c:pt idx="7">
                  <c:v>0.1764</c:v>
                </c:pt>
                <c:pt idx="8">
                  <c:v>0.45519999999999999</c:v>
                </c:pt>
                <c:pt idx="9">
                  <c:v>0.44550000000000001</c:v>
                </c:pt>
                <c:pt idx="10">
                  <c:v>0.438</c:v>
                </c:pt>
                <c:pt idx="11">
                  <c:v>0.1852</c:v>
                </c:pt>
                <c:pt idx="12">
                  <c:v>0.30149999999999999</c:v>
                </c:pt>
                <c:pt idx="13">
                  <c:v>0.14399999999999999</c:v>
                </c:pt>
                <c:pt idx="14">
                  <c:v>0.4461</c:v>
                </c:pt>
                <c:pt idx="15">
                  <c:v>0.49409999999999998</c:v>
                </c:pt>
                <c:pt idx="16">
                  <c:v>0.70169999999999999</c:v>
                </c:pt>
                <c:pt idx="17">
                  <c:v>0.40160000000000001</c:v>
                </c:pt>
                <c:pt idx="18">
                  <c:v>0.3861</c:v>
                </c:pt>
                <c:pt idx="19">
                  <c:v>0.12820000000000001</c:v>
                </c:pt>
                <c:pt idx="20">
                  <c:v>0.37559999999999999</c:v>
                </c:pt>
                <c:pt idx="21">
                  <c:v>0.43509999999999999</c:v>
                </c:pt>
                <c:pt idx="22">
                  <c:v>0.43030000000000002</c:v>
                </c:pt>
                <c:pt idx="23">
                  <c:v>0.46029999999999999</c:v>
                </c:pt>
                <c:pt idx="24">
                  <c:v>0.21809999999999999</c:v>
                </c:pt>
                <c:pt idx="25">
                  <c:v>0.499</c:v>
                </c:pt>
                <c:pt idx="26">
                  <c:v>0.39939999999999998</c:v>
                </c:pt>
                <c:pt idx="27">
                  <c:v>0.32579999999999998</c:v>
                </c:pt>
                <c:pt idx="28">
                  <c:v>0.34379999999999999</c:v>
                </c:pt>
                <c:pt idx="29">
                  <c:v>0.15479999999999999</c:v>
                </c:pt>
                <c:pt idx="30">
                  <c:v>7.4200000000000002E-2</c:v>
                </c:pt>
                <c:pt idx="31">
                  <c:v>0.20549999999999999</c:v>
                </c:pt>
                <c:pt idx="32">
                  <c:v>0.25459999999999999</c:v>
                </c:pt>
                <c:pt idx="33">
                  <c:v>0.39140000000000003</c:v>
                </c:pt>
                <c:pt idx="34">
                  <c:v>0.35070000000000001</c:v>
                </c:pt>
                <c:pt idx="35">
                  <c:v>0.36730000000000002</c:v>
                </c:pt>
                <c:pt idx="36">
                  <c:v>0.35470000000000002</c:v>
                </c:pt>
                <c:pt idx="37">
                  <c:v>0.2873</c:v>
                </c:pt>
                <c:pt idx="38">
                  <c:v>0.24879999999999999</c:v>
                </c:pt>
                <c:pt idx="39">
                  <c:v>0.34050000000000002</c:v>
                </c:pt>
                <c:pt idx="40">
                  <c:v>0.2989</c:v>
                </c:pt>
                <c:pt idx="41">
                  <c:v>0.34599999999999997</c:v>
                </c:pt>
                <c:pt idx="42">
                  <c:v>-3.1600000000000003E-2</c:v>
                </c:pt>
                <c:pt idx="43">
                  <c:v>8.1500000000000003E-2</c:v>
                </c:pt>
                <c:pt idx="44">
                  <c:v>8.9099999999999999E-2</c:v>
                </c:pt>
                <c:pt idx="45">
                  <c:v>-1.0999999999999999E-2</c:v>
                </c:pt>
                <c:pt idx="46">
                  <c:v>7.9399999999999998E-2</c:v>
                </c:pt>
                <c:pt idx="47">
                  <c:v>0.3715</c:v>
                </c:pt>
                <c:pt idx="48">
                  <c:v>0.28749999999999998</c:v>
                </c:pt>
                <c:pt idx="49">
                  <c:v>0.43969999999999998</c:v>
                </c:pt>
                <c:pt idx="50">
                  <c:v>0.23480000000000001</c:v>
                </c:pt>
              </c:numCache>
            </c:numRef>
          </c:yVal>
          <c:bubbleSize>
            <c:numRef>
              <c:f>Sheet1!$C$2:$C$52</c:f>
              <c:numCache>
                <c:formatCode>General</c:formatCode>
                <c:ptCount val="51"/>
                <c:pt idx="0">
                  <c:v>2046825.7823000001</c:v>
                </c:pt>
                <c:pt idx="1">
                  <c:v>16203.212299999999</c:v>
                </c:pt>
                <c:pt idx="2">
                  <c:v>31644.144499999999</c:v>
                </c:pt>
                <c:pt idx="3">
                  <c:v>2119021.4544000002</c:v>
                </c:pt>
                <c:pt idx="4">
                  <c:v>28852.473999999998</c:v>
                </c:pt>
                <c:pt idx="5">
                  <c:v>270671.19300000003</c:v>
                </c:pt>
                <c:pt idx="6">
                  <c:v>427959.80719999998</c:v>
                </c:pt>
                <c:pt idx="7">
                  <c:v>3725061.8516000002</c:v>
                </c:pt>
                <c:pt idx="8">
                  <c:v>2366962.6518000001</c:v>
                </c:pt>
                <c:pt idx="9">
                  <c:v>3547845.7535000001</c:v>
                </c:pt>
                <c:pt idx="10">
                  <c:v>2561.1941000000002</c:v>
                </c:pt>
                <c:pt idx="11">
                  <c:v>991517.41430000006</c:v>
                </c:pt>
                <c:pt idx="12">
                  <c:v>4149231.1453999998</c:v>
                </c:pt>
                <c:pt idx="13">
                  <c:v>7678155.8173000021</c:v>
                </c:pt>
                <c:pt idx="14">
                  <c:v>217318.38440000001</c:v>
                </c:pt>
                <c:pt idx="15">
                  <c:v>850339.46380000003</c:v>
                </c:pt>
                <c:pt idx="16">
                  <c:v>9602.1797999999999</c:v>
                </c:pt>
                <c:pt idx="17">
                  <c:v>394784.88339999988</c:v>
                </c:pt>
                <c:pt idx="18">
                  <c:v>270428.12439999997</c:v>
                </c:pt>
                <c:pt idx="19">
                  <c:v>77295.212800000008</c:v>
                </c:pt>
                <c:pt idx="20">
                  <c:v>1863564.0796999999</c:v>
                </c:pt>
                <c:pt idx="21">
                  <c:v>1155386.3507999999</c:v>
                </c:pt>
                <c:pt idx="22">
                  <c:v>1074236.973</c:v>
                </c:pt>
                <c:pt idx="23">
                  <c:v>277329.53539999988</c:v>
                </c:pt>
                <c:pt idx="24">
                  <c:v>819173.43059999985</c:v>
                </c:pt>
                <c:pt idx="25">
                  <c:v>2907579.775799999</c:v>
                </c:pt>
                <c:pt idx="26">
                  <c:v>183986.73240000001</c:v>
                </c:pt>
                <c:pt idx="27">
                  <c:v>224227.94260000001</c:v>
                </c:pt>
                <c:pt idx="28">
                  <c:v>1147947.4047999999</c:v>
                </c:pt>
                <c:pt idx="29">
                  <c:v>177245.5282</c:v>
                </c:pt>
                <c:pt idx="30">
                  <c:v>56817.089500000002</c:v>
                </c:pt>
                <c:pt idx="31">
                  <c:v>241292.2684</c:v>
                </c:pt>
                <c:pt idx="32">
                  <c:v>96136.576799999981</c:v>
                </c:pt>
                <c:pt idx="33">
                  <c:v>91396.574099999998</c:v>
                </c:pt>
                <c:pt idx="34">
                  <c:v>51837.379200000003</c:v>
                </c:pt>
                <c:pt idx="35">
                  <c:v>599204.35870000022</c:v>
                </c:pt>
                <c:pt idx="36">
                  <c:v>1569349.9712</c:v>
                </c:pt>
                <c:pt idx="37">
                  <c:v>90111.249699999986</c:v>
                </c:pt>
                <c:pt idx="38">
                  <c:v>7381.9489999999987</c:v>
                </c:pt>
                <c:pt idx="39">
                  <c:v>621172.2644000001</c:v>
                </c:pt>
                <c:pt idx="40">
                  <c:v>1321744.1344000001</c:v>
                </c:pt>
                <c:pt idx="41">
                  <c:v>346446.61200000002</c:v>
                </c:pt>
                <c:pt idx="42">
                  <c:v>23162.563399999999</c:v>
                </c:pt>
                <c:pt idx="43">
                  <c:v>29997.0429</c:v>
                </c:pt>
                <c:pt idx="44">
                  <c:v>7339.8536999999997</c:v>
                </c:pt>
                <c:pt idx="45">
                  <c:v>43181.377599999993</c:v>
                </c:pt>
                <c:pt idx="46">
                  <c:v>23385.416400000009</c:v>
                </c:pt>
                <c:pt idx="47">
                  <c:v>33021.712500000001</c:v>
                </c:pt>
                <c:pt idx="48">
                  <c:v>69949.332200000004</c:v>
                </c:pt>
                <c:pt idx="49">
                  <c:v>30122.476999999999</c:v>
                </c:pt>
                <c:pt idx="50">
                  <c:v>28520.879400000002</c:v>
                </c:pt>
              </c:numCache>
            </c:numRef>
          </c:bubbleSize>
          <c:bubble3D val="0"/>
          <c:extLst>
            <c:ext xmlns:c15="http://schemas.microsoft.com/office/drawing/2012/chart" uri="{02D57815-91ED-43cb-92C2-25804820EDAC}">
              <c15:datalabelsRange>
                <c15:f>Sheet1!$E$2:$E$29</c15:f>
                <c15:dlblRangeCache>
                  <c:ptCount val="28"/>
                  <c:pt idx="0">
                    <c:v>Boursin Classique Fromage Frais A Tartiner Afh 1X160Gr 10P</c:v>
                  </c:pt>
                  <c:pt idx="1">
                    <c:v>La Vache Qui Rit Aro Fromage Fondu Boite Ronde Jambon 1X133Gr 8P</c:v>
                  </c:pt>
                  <c:pt idx="2">
                    <c:v>Boursin Classique Fromage Frais A Tartiner Afh Boite 1X320Gr 16+4P</c:v>
                  </c:pt>
                  <c:pt idx="3">
                    <c:v>Boursin Classique Fromage Frais A Tartiner Afh Boite 1X150Gr 1P</c:v>
                  </c:pt>
                  <c:pt idx="4">
                    <c:v>Boursin Classique Fromage Frais A Tartiner Truffe Boite 1X150Gr 1P</c:v>
                  </c:pt>
                  <c:pt idx="5">
                    <c:v>Boursin Classique Fromage Frais A Tartiner Figue Et 3 Noix Boite 1X150Gr 1P</c:v>
                  </c:pt>
                  <c:pt idx="6">
                    <c:v>Boursin Classique Fromage Frais A Tartiner Ciboulette &amp; Echalote Boite 1X150Gr 1P</c:v>
                  </c:pt>
                  <c:pt idx="7">
                    <c:v>Kiri Creme Fromage Blanc Frais Carre 1X432Gr 24P</c:v>
                  </c:pt>
                  <c:pt idx="8">
                    <c:v>Kiri Creme Fromage Blanc Frais Carre 1X216Gr 12P</c:v>
                  </c:pt>
                  <c:pt idx="9">
                    <c:v>La Vache Qui Rit Nature Fromage Fondu Boite Ronde 1X192Gr 12P</c:v>
                  </c:pt>
                  <c:pt idx="10">
                    <c:v>La Vache Qui Rit Nature Fromage Fondu Boite Ronde 1X256Gr 16P</c:v>
                  </c:pt>
                  <c:pt idx="11">
                    <c:v>La Vache Qui Rit Nature Fromage Fondu Boite Ronde 1X512Gr 24+8P</c:v>
                  </c:pt>
                  <c:pt idx="12">
                    <c:v>La Vache Qui Rit Nature Fromage Fondu Boite Ronde 1X384Gr 24P</c:v>
                  </c:pt>
                  <c:pt idx="13">
                    <c:v>La Vache Qui Rit Nature Fromage Fondu Boite Ronde 1X512Gr 32P</c:v>
                  </c:pt>
                  <c:pt idx="14">
                    <c:v>La Vache Qui Rit Allegee Fromage Fondu Boite Ronde Allege 1X267Gr 16P</c:v>
                  </c:pt>
                  <c:pt idx="15">
                    <c:v>La Vache Qui Rit Nature Fromage Fondu Boite Ronde 1X128Gr 8P</c:v>
                  </c:pt>
                  <c:pt idx="16">
                    <c:v>La Vache Qui Rit Pik Et Croq' Fromage Fondu Dips Boite 1X35Gr 1P</c:v>
                  </c:pt>
                  <c:pt idx="17">
                    <c:v>Kiri Delicieusement Fouette Fromage Frais A Tartiner 1X125Gr 1P</c:v>
                  </c:pt>
                  <c:pt idx="18">
                    <c:v>Kiri Delicieusement Fouette Fromage Frais A Tartiner 1X210Gr 1P</c:v>
                  </c:pt>
                  <c:pt idx="19">
                    <c:v>La Vache Qui Rit Bio Fromage Fondu Boite Ronde 1X128Gr 8P</c:v>
                  </c:pt>
                  <c:pt idx="20">
                    <c:v>Kiri Gouter Fromage Blanc Dips Boite 1X175Gr 5P</c:v>
                  </c:pt>
                  <c:pt idx="21">
                    <c:v>Kiri Gouter Fromage Blanc Dips Boite 1X280Gr 8P</c:v>
                  </c:pt>
                  <c:pt idx="22">
                    <c:v>La Vache Qui Rit Pik Et Croq' Fromage Fondu Dips Boite 1X175Gr 5P</c:v>
                  </c:pt>
                  <c:pt idx="23">
                    <c:v>La Vache Qui Rit Pik Et Croq' Fromage Fondu Dips Boite 1X280Gr 8P</c:v>
                  </c:pt>
                  <c:pt idx="24">
                    <c:v>Kiri Creme Fromage Blanc Frais Carre 1X432Gr 18+6P</c:v>
                  </c:pt>
                  <c:pt idx="25">
                    <c:v>Kiri Creme Fromage Blanc Frais Carre 1X144Gr 8P</c:v>
                  </c:pt>
                  <c:pt idx="26">
                    <c:v>Kiri Bio Fromage Blanc Frais Carre 1X144Gr 8P</c:v>
                  </c:pt>
                  <c:pt idx="27">
                    <c:v>Kiri Delicieusement Fouette Fromage Frais A Tartiner 1X160Gr 10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764720000000001"/>
          <c:min val="3.9776000000000007"/>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169554637004427"/>
        <c:crossBetween val="midCat"/>
      </c:valAx>
      <c:valAx>
        <c:axId val="1011451359"/>
        <c:scaling>
          <c:orientation val="minMax"/>
          <c:max val="1.20204"/>
          <c:min val="-0.2652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274876953574599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73779CA-974C-4DE8-9980-71A743030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DC74E07-AEFE-423F-BDFB-6985BE43B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983D6BE-52B0-4448-9AB9-38D445EF9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B59E4C2-5B6B-458F-87B0-0BD865101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2701172-4EA2-44E6-A7CB-8735B11CB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1FF0DB35-8C63-4091-B9EC-5B2D853A9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35DB7F1D-7744-4745-A782-2574DD669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2EE571A-B284-45B2-9251-788F23474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470600000000001</c:v>
                </c:pt>
                <c:pt idx="1">
                  <c:v>20.922599999999999</c:v>
                </c:pt>
                <c:pt idx="2">
                  <c:v>14.4495</c:v>
                </c:pt>
                <c:pt idx="3">
                  <c:v>19.629000000000001</c:v>
                </c:pt>
              </c:numCache>
            </c:numRef>
          </c:xVal>
          <c:yVal>
            <c:numRef>
              <c:f>Sheet1!$B$2:$B$5</c:f>
              <c:numCache>
                <c:formatCode>General</c:formatCode>
                <c:ptCount val="4"/>
                <c:pt idx="0">
                  <c:v>0.35470000000000002</c:v>
                </c:pt>
                <c:pt idx="1">
                  <c:v>0.34050000000000002</c:v>
                </c:pt>
                <c:pt idx="2">
                  <c:v>-3.1600000000000003E-2</c:v>
                </c:pt>
                <c:pt idx="3">
                  <c:v>0.23480000000000001</c:v>
                </c:pt>
              </c:numCache>
            </c:numRef>
          </c:yVal>
          <c:bubbleSize>
            <c:numRef>
              <c:f>Sheet1!$C$2:$C$5</c:f>
              <c:numCache>
                <c:formatCode>General</c:formatCode>
                <c:ptCount val="4"/>
                <c:pt idx="0">
                  <c:v>1569349.9712</c:v>
                </c:pt>
                <c:pt idx="1">
                  <c:v>621172.2644000001</c:v>
                </c:pt>
                <c:pt idx="2">
                  <c:v>23162.563399999999</c:v>
                </c:pt>
                <c:pt idx="3">
                  <c:v>28520.879400000002</c:v>
                </c:pt>
              </c:numCache>
            </c:numRef>
          </c:bubbleSize>
          <c:bubble3D val="0"/>
          <c:extLst>
            <c:ext xmlns:c15="http://schemas.microsoft.com/office/drawing/2012/chart" uri="{02D57815-91ED-43cb-92C2-25804820EDAC}">
              <c15:datalabelsRange>
                <c15:f>Sheet1!$E$2:$E$29</c15:f>
                <c15:dlblRangeCache>
                  <c:ptCount val="28"/>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el Boursin Aperitif Roules Aperitif Aperitif 1 Ct X 100Gr</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764720000000001"/>
          <c:min val="11.559600000000001"/>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4525037722896174"/>
        <c:crossBetween val="midCat"/>
      </c:valAx>
      <c:valAx>
        <c:axId val="1011451359"/>
        <c:scaling>
          <c:orientation val="minMax"/>
          <c:max val="0.78564000000000001"/>
          <c:min val="-0.2652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22282918591553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006C6D"/>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C00000"/>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006C6D"/>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5EFE-49BA-9777-F7A1815B65B7}"/>
              </c:ext>
            </c:extLst>
          </c:dPt>
          <c:dPt>
            <c:idx val="13"/>
            <c:invertIfNegative val="1"/>
            <c:bubble3D val="0"/>
            <c:spPr>
              <a:solidFill>
                <a:srgbClr val="006C6D"/>
              </a:solidFill>
            </c:spPr>
            <c:extLst>
              <c:ext xmlns:c16="http://schemas.microsoft.com/office/drawing/2014/chart" uri="{C3380CC4-5D6E-409C-BE32-E72D297353CC}">
                <c16:uniqueId val="{0000001B-5EFE-49BA-9777-F7A1815B65B7}"/>
              </c:ext>
            </c:extLst>
          </c:dPt>
          <c:dPt>
            <c:idx val="14"/>
            <c:invertIfNegative val="1"/>
            <c:bubble3D val="0"/>
            <c:spPr>
              <a:solidFill>
                <a:srgbClr val="C00000"/>
              </a:solidFill>
            </c:spPr>
            <c:extLst>
              <c:ext xmlns:c16="http://schemas.microsoft.com/office/drawing/2014/chart" uri="{C3380CC4-5D6E-409C-BE32-E72D297353CC}">
                <c16:uniqueId val="{0000001D-5EFE-49BA-9777-F7A1815B65B7}"/>
              </c:ext>
            </c:extLst>
          </c:dPt>
          <c:dPt>
            <c:idx val="15"/>
            <c:invertIfNegative val="1"/>
            <c:bubble3D val="0"/>
            <c:spPr>
              <a:solidFill>
                <a:srgbClr val="006C6D"/>
              </a:solidFill>
            </c:spPr>
            <c:extLst>
              <c:ext xmlns:c16="http://schemas.microsoft.com/office/drawing/2014/chart" uri="{C3380CC4-5D6E-409C-BE32-E72D297353CC}">
                <c16:uniqueId val="{0000001F-5EFE-49BA-9777-F7A1815B65B7}"/>
              </c:ext>
            </c:extLst>
          </c:dPt>
          <c:dPt>
            <c:idx val="16"/>
            <c:invertIfNegative val="1"/>
            <c:bubble3D val="0"/>
            <c:spPr>
              <a:solidFill>
                <a:srgbClr val="006C6D"/>
              </a:solidFill>
            </c:spPr>
            <c:extLst>
              <c:ext xmlns:c16="http://schemas.microsoft.com/office/drawing/2014/chart" uri="{C3380CC4-5D6E-409C-BE32-E72D297353CC}">
                <c16:uniqueId val="{00000021-5EFE-49BA-9777-F7A1815B65B7}"/>
              </c:ext>
            </c:extLst>
          </c:dPt>
          <c:dPt>
            <c:idx val="17"/>
            <c:invertIfNegative val="1"/>
            <c:bubble3D val="0"/>
            <c:spPr>
              <a:solidFill>
                <a:srgbClr val="006C6D"/>
              </a:solidFill>
            </c:spPr>
            <c:extLst>
              <c:ext xmlns:c16="http://schemas.microsoft.com/office/drawing/2014/chart" uri="{C3380CC4-5D6E-409C-BE32-E72D297353CC}">
                <c16:uniqueId val="{00000023-5EFE-49BA-9777-F7A1815B65B7}"/>
              </c:ext>
            </c:extLst>
          </c:dPt>
          <c:dPt>
            <c:idx val="18"/>
            <c:invertIfNegative val="1"/>
            <c:bubble3D val="0"/>
            <c:spPr>
              <a:solidFill>
                <a:srgbClr val="006C6D"/>
              </a:solidFill>
            </c:spPr>
            <c:extLst>
              <c:ext xmlns:c16="http://schemas.microsoft.com/office/drawing/2014/chart" uri="{C3380CC4-5D6E-409C-BE32-E72D297353CC}">
                <c16:uniqueId val="{00000025-5EFE-49BA-9777-F7A1815B65B7}"/>
              </c:ext>
            </c:extLst>
          </c:dPt>
          <c:dPt>
            <c:idx val="19"/>
            <c:invertIfNegative val="1"/>
            <c:bubble3D val="0"/>
            <c:spPr>
              <a:solidFill>
                <a:srgbClr val="C00000"/>
              </a:solidFill>
            </c:spPr>
            <c:extLst>
              <c:ext xmlns:c16="http://schemas.microsoft.com/office/drawing/2014/chart" uri="{C3380CC4-5D6E-409C-BE32-E72D297353CC}">
                <c16:uniqueId val="{00000027-5EFE-49BA-9777-F7A1815B65B7}"/>
              </c:ext>
            </c:extLst>
          </c:dPt>
          <c:dPt>
            <c:idx val="20"/>
            <c:invertIfNegative val="1"/>
            <c:bubble3D val="0"/>
            <c:spPr>
              <a:solidFill>
                <a:srgbClr val="006C6D"/>
              </a:solidFill>
            </c:spPr>
            <c:extLst>
              <c:ext xmlns:c16="http://schemas.microsoft.com/office/drawing/2014/chart" uri="{C3380CC4-5D6E-409C-BE32-E72D297353CC}">
                <c16:uniqueId val="{00000029-5EFE-49BA-9777-F7A1815B65B7}"/>
              </c:ext>
            </c:extLst>
          </c:dPt>
          <c:dPt>
            <c:idx val="21"/>
            <c:invertIfNegative val="1"/>
            <c:bubble3D val="0"/>
            <c:spPr>
              <a:solidFill>
                <a:srgbClr val="006C6D"/>
              </a:solidFill>
            </c:spPr>
            <c:extLst>
              <c:ext xmlns:c16="http://schemas.microsoft.com/office/drawing/2014/chart" uri="{C3380CC4-5D6E-409C-BE32-E72D297353CC}">
                <c16:uniqueId val="{0000002B-5EFE-49BA-9777-F7A1815B65B7}"/>
              </c:ext>
            </c:extLst>
          </c:dPt>
          <c:dPt>
            <c:idx val="22"/>
            <c:invertIfNegative val="1"/>
            <c:bubble3D val="0"/>
            <c:spPr>
              <a:solidFill>
                <a:srgbClr val="006C6D"/>
              </a:solidFill>
            </c:spPr>
            <c:extLst>
              <c:ext xmlns:c16="http://schemas.microsoft.com/office/drawing/2014/chart" uri="{C3380CC4-5D6E-409C-BE32-E72D297353CC}">
                <c16:uniqueId val="{0000002D-5EFE-49BA-9777-F7A1815B65B7}"/>
              </c:ext>
            </c:extLst>
          </c:dPt>
          <c:dPt>
            <c:idx val="23"/>
            <c:invertIfNegative val="1"/>
            <c:bubble3D val="0"/>
            <c:spPr>
              <a:solidFill>
                <a:srgbClr val="006C6D"/>
              </a:solidFill>
            </c:spPr>
            <c:extLst>
              <c:ext xmlns:c16="http://schemas.microsoft.com/office/drawing/2014/chart" uri="{C3380CC4-5D6E-409C-BE32-E72D297353CC}">
                <c16:uniqueId val="{0000002F-5EFE-49BA-9777-F7A1815B65B7}"/>
              </c:ext>
            </c:extLst>
          </c:dPt>
          <c:dPt>
            <c:idx val="24"/>
            <c:invertIfNegative val="1"/>
            <c:bubble3D val="0"/>
            <c:spPr>
              <a:solidFill>
                <a:srgbClr val="E6E5E5"/>
              </a:solidFill>
            </c:spPr>
            <c:extLst>
              <c:ext xmlns:c16="http://schemas.microsoft.com/office/drawing/2014/chart" uri="{C3380CC4-5D6E-409C-BE32-E72D297353CC}">
                <c16:uniqueId val="{00000031-5EFE-49BA-9777-F7A1815B65B7}"/>
              </c:ext>
            </c:extLst>
          </c:dPt>
          <c:dPt>
            <c:idx val="25"/>
            <c:invertIfNegative val="1"/>
            <c:bubble3D val="0"/>
            <c:spPr>
              <a:solidFill>
                <a:srgbClr val="C00000"/>
              </a:solidFill>
            </c:spPr>
            <c:extLst>
              <c:ext xmlns:c16="http://schemas.microsoft.com/office/drawing/2014/chart" uri="{C3380CC4-5D6E-409C-BE32-E72D297353CC}">
                <c16:uniqueId val="{00000033-5EFE-49BA-9777-F7A1815B65B7}"/>
              </c:ext>
            </c:extLst>
          </c:dPt>
          <c:dPt>
            <c:idx val="26"/>
            <c:invertIfNegative val="1"/>
            <c:bubble3D val="0"/>
            <c:spPr>
              <a:solidFill>
                <a:srgbClr val="006C6D"/>
              </a:solidFill>
            </c:spPr>
            <c:extLst>
              <c:ext xmlns:c16="http://schemas.microsoft.com/office/drawing/2014/chart" uri="{C3380CC4-5D6E-409C-BE32-E72D297353CC}">
                <c16:uniqueId val="{00000035-5EFE-49BA-9777-F7A1815B65B7}"/>
              </c:ext>
            </c:extLst>
          </c:dPt>
          <c:dPt>
            <c:idx val="27"/>
            <c:invertIfNegative val="1"/>
            <c:bubble3D val="0"/>
            <c:spPr>
              <a:solidFill>
                <a:srgbClr val="006C6D"/>
              </a:solidFill>
            </c:spPr>
            <c:extLst>
              <c:ext xmlns:c16="http://schemas.microsoft.com/office/drawing/2014/chart" uri="{C3380CC4-5D6E-409C-BE32-E72D297353CC}">
                <c16:uniqueId val="{00000037-5EFE-49BA-9777-F7A1815B65B7}"/>
              </c:ext>
            </c:extLst>
          </c:dPt>
          <c:dPt>
            <c:idx val="28"/>
            <c:invertIfNegative val="1"/>
            <c:bubble3D val="0"/>
            <c:spPr>
              <a:solidFill>
                <a:srgbClr val="FF8080"/>
              </a:solidFill>
            </c:spPr>
            <c:extLst>
              <c:ext xmlns:c16="http://schemas.microsoft.com/office/drawing/2014/chart" uri="{C3380CC4-5D6E-409C-BE32-E72D297353CC}">
                <c16:uniqueId val="{00000039-5EFE-49BA-9777-F7A1815B65B7}"/>
              </c:ext>
            </c:extLst>
          </c:dPt>
          <c:dPt>
            <c:idx val="29"/>
            <c:invertIfNegative val="1"/>
            <c:bubble3D val="0"/>
            <c:spPr>
              <a:solidFill>
                <a:srgbClr val="006C6D"/>
              </a:solidFill>
            </c:spPr>
            <c:extLst>
              <c:ext xmlns:c16="http://schemas.microsoft.com/office/drawing/2014/chart" uri="{C3380CC4-5D6E-409C-BE32-E72D297353CC}">
                <c16:uniqueId val="{0000003B-5EFE-49BA-9777-F7A1815B65B7}"/>
              </c:ext>
            </c:extLst>
          </c:dPt>
          <c:dPt>
            <c:idx val="30"/>
            <c:invertIfNegative val="1"/>
            <c:bubble3D val="0"/>
            <c:spPr>
              <a:solidFill>
                <a:srgbClr val="006C6D"/>
              </a:solidFill>
            </c:spPr>
            <c:extLst>
              <c:ext xmlns:c16="http://schemas.microsoft.com/office/drawing/2014/chart" uri="{C3380CC4-5D6E-409C-BE32-E72D297353CC}">
                <c16:uniqueId val="{0000003D-5EFE-49BA-9777-F7A1815B65B7}"/>
              </c:ext>
            </c:extLst>
          </c:dPt>
          <c:dPt>
            <c:idx val="31"/>
            <c:invertIfNegative val="1"/>
            <c:bubble3D val="0"/>
            <c:spPr>
              <a:solidFill>
                <a:srgbClr val="FF8080"/>
              </a:solidFill>
            </c:spPr>
            <c:extLst>
              <c:ext xmlns:c16="http://schemas.microsoft.com/office/drawing/2014/chart" uri="{C3380CC4-5D6E-409C-BE32-E72D297353CC}">
                <c16:uniqueId val="{0000003F-5EFE-49BA-9777-F7A1815B65B7}"/>
              </c:ext>
            </c:extLst>
          </c:dPt>
          <c:dPt>
            <c:idx val="32"/>
            <c:invertIfNegative val="1"/>
            <c:bubble3D val="0"/>
            <c:spPr>
              <a:solidFill>
                <a:srgbClr val="FF8080"/>
              </a:solidFill>
            </c:spPr>
            <c:extLst>
              <c:ext xmlns:c16="http://schemas.microsoft.com/office/drawing/2014/chart" uri="{C3380CC4-5D6E-409C-BE32-E72D297353CC}">
                <c16:uniqueId val="{00000041-5EFE-49BA-9777-F7A1815B65B7}"/>
              </c:ext>
            </c:extLst>
          </c:dPt>
          <c:dPt>
            <c:idx val="33"/>
            <c:invertIfNegative val="1"/>
            <c:bubble3D val="0"/>
            <c:spPr>
              <a:solidFill>
                <a:srgbClr val="006C6D"/>
              </a:solidFill>
            </c:spPr>
            <c:extLst>
              <c:ext xmlns:c16="http://schemas.microsoft.com/office/drawing/2014/chart" uri="{C3380CC4-5D6E-409C-BE32-E72D297353CC}">
                <c16:uniqueId val="{00000043-5EFE-49BA-9777-F7A1815B65B7}"/>
              </c:ext>
            </c:extLst>
          </c:dPt>
          <c:dPt>
            <c:idx val="34"/>
            <c:invertIfNegative val="1"/>
            <c:bubble3D val="0"/>
            <c:spPr>
              <a:solidFill>
                <a:srgbClr val="006C6D"/>
              </a:solidFill>
            </c:spPr>
            <c:extLst>
              <c:ext xmlns:c16="http://schemas.microsoft.com/office/drawing/2014/chart" uri="{C3380CC4-5D6E-409C-BE32-E72D297353CC}">
                <c16:uniqueId val="{00000045-5EFE-49BA-9777-F7A1815B65B7}"/>
              </c:ext>
            </c:extLst>
          </c:dPt>
          <c:dPt>
            <c:idx val="35"/>
            <c:invertIfNegative val="1"/>
            <c:bubble3D val="0"/>
            <c:spPr>
              <a:solidFill>
                <a:srgbClr val="006C6D"/>
              </a:solidFill>
            </c:spPr>
            <c:extLst>
              <c:ext xmlns:c16="http://schemas.microsoft.com/office/drawing/2014/chart" uri="{C3380CC4-5D6E-409C-BE32-E72D297353CC}">
                <c16:uniqueId val="{00000047-5EFE-49BA-9777-F7A1815B65B7}"/>
              </c:ext>
            </c:extLst>
          </c:dPt>
          <c:dPt>
            <c:idx val="36"/>
            <c:invertIfNegative val="1"/>
            <c:bubble3D val="0"/>
            <c:spPr>
              <a:solidFill>
                <a:srgbClr val="C00000"/>
              </a:solidFill>
            </c:spPr>
            <c:extLst>
              <c:ext xmlns:c16="http://schemas.microsoft.com/office/drawing/2014/chart" uri="{C3380CC4-5D6E-409C-BE32-E72D297353CC}">
                <c16:uniqueId val="{00000049-5EFE-49BA-9777-F7A1815B65B7}"/>
              </c:ext>
            </c:extLst>
          </c:dPt>
          <c:dLbls>
            <c:dLbl>
              <c:idx val="0"/>
              <c:tx>
                <c:rich>
                  <a:bodyPr/>
                  <a:lstStyle/>
                  <a:p>
                    <a:fld id="{206A41B0-22BC-458B-B219-8104339B6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BC46368-44E0-4924-8E30-8B0DAAC37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E4D1818-A88D-42DA-A0B6-5595FAA41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9F74E37-F948-4F9B-AC32-5F177070D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9D37E4A-1C6F-423B-A6CA-B2A8358C0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F03018E-2244-45B4-B6DB-AAEFEDBA5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9141F58-13B0-4C90-975B-27F0C3716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4C4CA80-AB7D-4234-9790-F3B22B84E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A6E1FFCF-0BDD-4EAD-AB97-14C0D27A4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2180C366-75EC-4556-A06E-2BC4C651A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6C1C6202-3F69-4324-BB8A-E36D9DE12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D8BD1B92-95C3-4807-A914-331212C80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01FCF407-56D5-4CD0-B773-AF3078C29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5EFE-49BA-9777-F7A1815B65B7}"/>
                </c:ext>
              </c:extLst>
            </c:dLbl>
            <c:dLbl>
              <c:idx val="13"/>
              <c:tx>
                <c:rich>
                  <a:bodyPr/>
                  <a:lstStyle/>
                  <a:p>
                    <a:fld id="{546CD685-48D0-4808-9D5E-4DB8FB41B8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5EFE-49BA-9777-F7A1815B65B7}"/>
                </c:ext>
              </c:extLst>
            </c:dLbl>
            <c:dLbl>
              <c:idx val="14"/>
              <c:tx>
                <c:rich>
                  <a:bodyPr/>
                  <a:lstStyle/>
                  <a:p>
                    <a:fld id="{76817A75-62F0-41BA-9287-5D4CD692D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5EFE-49BA-9777-F7A1815B65B7}"/>
                </c:ext>
              </c:extLst>
            </c:dLbl>
            <c:dLbl>
              <c:idx val="15"/>
              <c:tx>
                <c:rich>
                  <a:bodyPr/>
                  <a:lstStyle/>
                  <a:p>
                    <a:fld id="{27C2B752-C235-4B0F-AEC7-D8FAF3E30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5EFE-49BA-9777-F7A1815B65B7}"/>
                </c:ext>
              </c:extLst>
            </c:dLbl>
            <c:dLbl>
              <c:idx val="16"/>
              <c:tx>
                <c:rich>
                  <a:bodyPr/>
                  <a:lstStyle/>
                  <a:p>
                    <a:fld id="{7669B930-EC48-4115-8F9E-2B8DBA203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5EFE-49BA-9777-F7A1815B65B7}"/>
                </c:ext>
              </c:extLst>
            </c:dLbl>
            <c:dLbl>
              <c:idx val="17"/>
              <c:tx>
                <c:rich>
                  <a:bodyPr/>
                  <a:lstStyle/>
                  <a:p>
                    <a:fld id="{9009DD0C-A045-464F-8FCC-3AD582E6C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5EFE-49BA-9777-F7A1815B65B7}"/>
                </c:ext>
              </c:extLst>
            </c:dLbl>
            <c:dLbl>
              <c:idx val="18"/>
              <c:tx>
                <c:rich>
                  <a:bodyPr/>
                  <a:lstStyle/>
                  <a:p>
                    <a:fld id="{077D2E58-A167-410A-B339-A6A802B59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5EFE-49BA-9777-F7A1815B65B7}"/>
                </c:ext>
              </c:extLst>
            </c:dLbl>
            <c:dLbl>
              <c:idx val="19"/>
              <c:tx>
                <c:rich>
                  <a:bodyPr/>
                  <a:lstStyle/>
                  <a:p>
                    <a:fld id="{ADE44927-0C74-4FA7-BABE-1F315052D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5EFE-49BA-9777-F7A1815B65B7}"/>
                </c:ext>
              </c:extLst>
            </c:dLbl>
            <c:dLbl>
              <c:idx val="20"/>
              <c:tx>
                <c:rich>
                  <a:bodyPr/>
                  <a:lstStyle/>
                  <a:p>
                    <a:fld id="{6C789CAE-48CB-4605-9F24-FFC25BFA0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5EFE-49BA-9777-F7A1815B65B7}"/>
                </c:ext>
              </c:extLst>
            </c:dLbl>
            <c:dLbl>
              <c:idx val="21"/>
              <c:tx>
                <c:rich>
                  <a:bodyPr/>
                  <a:lstStyle/>
                  <a:p>
                    <a:fld id="{68830712-2A0D-4C3F-B2A3-B84F291DB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5EFE-49BA-9777-F7A1815B65B7}"/>
                </c:ext>
              </c:extLst>
            </c:dLbl>
            <c:dLbl>
              <c:idx val="22"/>
              <c:tx>
                <c:rich>
                  <a:bodyPr/>
                  <a:lstStyle/>
                  <a:p>
                    <a:fld id="{68FB4EDE-4323-4AED-A9E2-BB0CB6D0E1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5EFE-49BA-9777-F7A1815B65B7}"/>
                </c:ext>
              </c:extLst>
            </c:dLbl>
            <c:dLbl>
              <c:idx val="23"/>
              <c:tx>
                <c:rich>
                  <a:bodyPr/>
                  <a:lstStyle/>
                  <a:p>
                    <a:fld id="{31C3F05B-5FBF-4A36-AA15-3661EE257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5EFE-49BA-9777-F7A1815B65B7}"/>
                </c:ext>
              </c:extLst>
            </c:dLbl>
            <c:dLbl>
              <c:idx val="24"/>
              <c:tx>
                <c:rich>
                  <a:bodyPr/>
                  <a:lstStyle/>
                  <a:p>
                    <a:fld id="{C747AAD0-14EE-4E3D-96FB-F25BFD9A4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5EFE-49BA-9777-F7A1815B65B7}"/>
                </c:ext>
              </c:extLst>
            </c:dLbl>
            <c:dLbl>
              <c:idx val="25"/>
              <c:tx>
                <c:rich>
                  <a:bodyPr/>
                  <a:lstStyle/>
                  <a:p>
                    <a:fld id="{9BFFB203-1AF6-4EDC-BE84-00DC36FA5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5EFE-49BA-9777-F7A1815B65B7}"/>
                </c:ext>
              </c:extLst>
            </c:dLbl>
            <c:dLbl>
              <c:idx val="26"/>
              <c:tx>
                <c:rich>
                  <a:bodyPr/>
                  <a:lstStyle/>
                  <a:p>
                    <a:fld id="{618B189D-3136-4E1D-A240-D9D1F8F5B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5EFE-49BA-9777-F7A1815B65B7}"/>
                </c:ext>
              </c:extLst>
            </c:dLbl>
            <c:dLbl>
              <c:idx val="27"/>
              <c:tx>
                <c:rich>
                  <a:bodyPr/>
                  <a:lstStyle/>
                  <a:p>
                    <a:fld id="{DF9AADD8-E53B-4D52-8D22-1005F10FE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5EFE-49BA-9777-F7A1815B65B7}"/>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5EFE-49BA-9777-F7A1815B65B7}"/>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5EFE-49BA-9777-F7A1815B65B7}"/>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5EFE-49BA-9777-F7A1815B65B7}"/>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5EFE-49BA-9777-F7A1815B65B7}"/>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5EFE-49BA-9777-F7A1815B65B7}"/>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5EFE-49BA-9777-F7A1815B65B7}"/>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5EFE-49BA-9777-F7A1815B65B7}"/>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5EFE-49BA-9777-F7A1815B65B7}"/>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5EFE-49BA-9777-F7A1815B65B7}"/>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8</c:f>
              <c:numCache>
                <c:formatCode>General</c:formatCode>
                <c:ptCount val="37"/>
                <c:pt idx="0">
                  <c:v>9.2596000000000007</c:v>
                </c:pt>
                <c:pt idx="1">
                  <c:v>7.5926999999999998</c:v>
                </c:pt>
                <c:pt idx="2">
                  <c:v>8.8203999999999994</c:v>
                </c:pt>
                <c:pt idx="3">
                  <c:v>6.0709999999999997</c:v>
                </c:pt>
                <c:pt idx="4">
                  <c:v>8.8940999999999999</c:v>
                </c:pt>
                <c:pt idx="5">
                  <c:v>8.4114000000000004</c:v>
                </c:pt>
                <c:pt idx="6">
                  <c:v>7.4500999999999999</c:v>
                </c:pt>
                <c:pt idx="7">
                  <c:v>8.7295999999999996</c:v>
                </c:pt>
                <c:pt idx="8">
                  <c:v>7.4040999999999997</c:v>
                </c:pt>
                <c:pt idx="9">
                  <c:v>5.0232000000000001</c:v>
                </c:pt>
                <c:pt idx="10">
                  <c:v>6.2583000000000002</c:v>
                </c:pt>
                <c:pt idx="11">
                  <c:v>5.7774000000000001</c:v>
                </c:pt>
                <c:pt idx="12">
                  <c:v>6.2858000000000001</c:v>
                </c:pt>
                <c:pt idx="13">
                  <c:v>9.8241999999999994</c:v>
                </c:pt>
                <c:pt idx="14">
                  <c:v>7.8284000000000002</c:v>
                </c:pt>
                <c:pt idx="15">
                  <c:v>8.1095000000000006</c:v>
                </c:pt>
                <c:pt idx="16">
                  <c:v>7.8398000000000003</c:v>
                </c:pt>
                <c:pt idx="17">
                  <c:v>7.4950000000000001</c:v>
                </c:pt>
                <c:pt idx="18">
                  <c:v>6.7352999999999996</c:v>
                </c:pt>
                <c:pt idx="19">
                  <c:v>6.1775000000000002</c:v>
                </c:pt>
                <c:pt idx="20">
                  <c:v>9.4852000000000007</c:v>
                </c:pt>
                <c:pt idx="21">
                  <c:v>9.3064</c:v>
                </c:pt>
                <c:pt idx="22">
                  <c:v>8.5388000000000002</c:v>
                </c:pt>
                <c:pt idx="23">
                  <c:v>10.5822</c:v>
                </c:pt>
                <c:pt idx="24">
                  <c:v>11.0299</c:v>
                </c:pt>
                <c:pt idx="25">
                  <c:v>11.2186</c:v>
                </c:pt>
                <c:pt idx="26">
                  <c:v>10.653499999999999</c:v>
                </c:pt>
                <c:pt idx="27">
                  <c:v>9.4532000000000007</c:v>
                </c:pt>
                <c:pt idx="28">
                  <c:v>10.1027</c:v>
                </c:pt>
                <c:pt idx="29">
                  <c:v>8.7674000000000003</c:v>
                </c:pt>
                <c:pt idx="30">
                  <c:v>10.3247</c:v>
                </c:pt>
                <c:pt idx="31">
                  <c:v>7.5269000000000004</c:v>
                </c:pt>
                <c:pt idx="32">
                  <c:v>9.9793000000000003</c:v>
                </c:pt>
                <c:pt idx="33">
                  <c:v>8.9146999999999998</c:v>
                </c:pt>
                <c:pt idx="34">
                  <c:v>7.7407000000000004</c:v>
                </c:pt>
                <c:pt idx="35">
                  <c:v>8.7566000000000006</c:v>
                </c:pt>
                <c:pt idx="36">
                  <c:v>10.2592</c:v>
                </c:pt>
              </c:numCache>
            </c:numRef>
          </c:xVal>
          <c:yVal>
            <c:numRef>
              <c:f>Sheet1!$B$2:$B$38</c:f>
              <c:numCache>
                <c:formatCode>General</c:formatCode>
                <c:ptCount val="37"/>
                <c:pt idx="0">
                  <c:v>0.28370000000000001</c:v>
                </c:pt>
                <c:pt idx="1">
                  <c:v>0.26960000000000001</c:v>
                </c:pt>
                <c:pt idx="2">
                  <c:v>0.3201</c:v>
                </c:pt>
                <c:pt idx="3">
                  <c:v>-2.98E-2</c:v>
                </c:pt>
                <c:pt idx="4">
                  <c:v>0.30370000000000003</c:v>
                </c:pt>
                <c:pt idx="5">
                  <c:v>0.30099999999999999</c:v>
                </c:pt>
                <c:pt idx="6">
                  <c:v>0.35210000000000002</c:v>
                </c:pt>
                <c:pt idx="7">
                  <c:v>0.42880000000000001</c:v>
                </c:pt>
                <c:pt idx="8">
                  <c:v>0.39810000000000001</c:v>
                </c:pt>
                <c:pt idx="9">
                  <c:v>0.17280000000000001</c:v>
                </c:pt>
                <c:pt idx="10">
                  <c:v>0.31580000000000003</c:v>
                </c:pt>
                <c:pt idx="11">
                  <c:v>0.26429999999999998</c:v>
                </c:pt>
                <c:pt idx="12">
                  <c:v>0.3831</c:v>
                </c:pt>
                <c:pt idx="13">
                  <c:v>0.3745</c:v>
                </c:pt>
                <c:pt idx="14">
                  <c:v>0.26479999999999998</c:v>
                </c:pt>
                <c:pt idx="15">
                  <c:v>0.42459999999999998</c:v>
                </c:pt>
                <c:pt idx="16">
                  <c:v>0.41860000000000003</c:v>
                </c:pt>
                <c:pt idx="17">
                  <c:v>0.40150000000000002</c:v>
                </c:pt>
                <c:pt idx="18">
                  <c:v>0.34839999999999999</c:v>
                </c:pt>
                <c:pt idx="19">
                  <c:v>0.21079999999999999</c:v>
                </c:pt>
                <c:pt idx="20">
                  <c:v>0.48120000000000002</c:v>
                </c:pt>
                <c:pt idx="21">
                  <c:v>0.33500000000000002</c:v>
                </c:pt>
                <c:pt idx="22">
                  <c:v>0.23860000000000001</c:v>
                </c:pt>
                <c:pt idx="23">
                  <c:v>0.31180000000000002</c:v>
                </c:pt>
                <c:pt idx="24">
                  <c:v>0.30990000000000001</c:v>
                </c:pt>
                <c:pt idx="25">
                  <c:v>0.35339999999999999</c:v>
                </c:pt>
                <c:pt idx="26">
                  <c:v>0.27829999999999999</c:v>
                </c:pt>
                <c:pt idx="27">
                  <c:v>0.1988</c:v>
                </c:pt>
                <c:pt idx="28">
                  <c:v>0.36820000000000003</c:v>
                </c:pt>
                <c:pt idx="29">
                  <c:v>0.34860000000000002</c:v>
                </c:pt>
                <c:pt idx="30">
                  <c:v>0.35220000000000001</c:v>
                </c:pt>
                <c:pt idx="31">
                  <c:v>0.1007</c:v>
                </c:pt>
                <c:pt idx="32">
                  <c:v>0.38869999999999999</c:v>
                </c:pt>
                <c:pt idx="33">
                  <c:v>0.25869999999999999</c:v>
                </c:pt>
                <c:pt idx="34">
                  <c:v>0.22420000000000001</c:v>
                </c:pt>
                <c:pt idx="35">
                  <c:v>0.2535</c:v>
                </c:pt>
                <c:pt idx="36">
                  <c:v>0.26779999999999998</c:v>
                </c:pt>
              </c:numCache>
            </c:numRef>
          </c:yVal>
          <c:bubbleSize>
            <c:numRef>
              <c:f>Sheet1!$C$2:$C$38</c:f>
              <c:numCache>
                <c:formatCode>General</c:formatCode>
                <c:ptCount val="37"/>
                <c:pt idx="0">
                  <c:v>1645429.3156999999</c:v>
                </c:pt>
                <c:pt idx="1">
                  <c:v>194639.24890000001</c:v>
                </c:pt>
                <c:pt idx="2">
                  <c:v>1483245.8407999999</c:v>
                </c:pt>
                <c:pt idx="3">
                  <c:v>19536.5635</c:v>
                </c:pt>
                <c:pt idx="4">
                  <c:v>568393.2801999998</c:v>
                </c:pt>
                <c:pt idx="5">
                  <c:v>455014.01169999997</c:v>
                </c:pt>
                <c:pt idx="6">
                  <c:v>2305421.665</c:v>
                </c:pt>
                <c:pt idx="7">
                  <c:v>2848455.0869</c:v>
                </c:pt>
                <c:pt idx="8">
                  <c:v>3516863.661400001</c:v>
                </c:pt>
                <c:pt idx="9">
                  <c:v>21865.780599999991</c:v>
                </c:pt>
                <c:pt idx="10">
                  <c:v>2989794.8149000001</c:v>
                </c:pt>
                <c:pt idx="11">
                  <c:v>4789467.3874000004</c:v>
                </c:pt>
                <c:pt idx="12">
                  <c:v>466038.12929999991</c:v>
                </c:pt>
                <c:pt idx="13">
                  <c:v>264142.96620000002</c:v>
                </c:pt>
                <c:pt idx="14">
                  <c:v>8501.64</c:v>
                </c:pt>
                <c:pt idx="15">
                  <c:v>1209085.3938</c:v>
                </c:pt>
                <c:pt idx="16">
                  <c:v>1555147.5876</c:v>
                </c:pt>
                <c:pt idx="17">
                  <c:v>743356.49009999994</c:v>
                </c:pt>
                <c:pt idx="18">
                  <c:v>599065.13089999976</c:v>
                </c:pt>
                <c:pt idx="19">
                  <c:v>187301.984</c:v>
                </c:pt>
                <c:pt idx="20">
                  <c:v>1563209.9702000001</c:v>
                </c:pt>
                <c:pt idx="21">
                  <c:v>211804.02810000011</c:v>
                </c:pt>
                <c:pt idx="22">
                  <c:v>146209.82399999999</c:v>
                </c:pt>
                <c:pt idx="23">
                  <c:v>586213.45920000004</c:v>
                </c:pt>
                <c:pt idx="24">
                  <c:v>108247.5664</c:v>
                </c:pt>
                <c:pt idx="25">
                  <c:v>53176.012199999997</c:v>
                </c:pt>
                <c:pt idx="26">
                  <c:v>150811.14780000001</c:v>
                </c:pt>
                <c:pt idx="27">
                  <c:v>51813.046099999992</c:v>
                </c:pt>
                <c:pt idx="28">
                  <c:v>50382.185699999987</c:v>
                </c:pt>
                <c:pt idx="29">
                  <c:v>392341.30039999989</c:v>
                </c:pt>
                <c:pt idx="30">
                  <c:v>608075.93240000005</c:v>
                </c:pt>
                <c:pt idx="31">
                  <c:v>423307.45439999999</c:v>
                </c:pt>
                <c:pt idx="32">
                  <c:v>177451.41279999999</c:v>
                </c:pt>
                <c:pt idx="33">
                  <c:v>250921.9325</c:v>
                </c:pt>
                <c:pt idx="34">
                  <c:v>1620710.9251999999</c:v>
                </c:pt>
                <c:pt idx="35">
                  <c:v>575246.19469999999</c:v>
                </c:pt>
                <c:pt idx="36">
                  <c:v>22765.070899999999</c:v>
                </c:pt>
              </c:numCache>
            </c:numRef>
          </c:bubbleSize>
          <c:bubble3D val="0"/>
          <c:extLst>
            <c:ext xmlns:c15="http://schemas.microsoft.com/office/drawing/2012/chart" uri="{02D57815-91ED-43cb-92C2-25804820EDAC}">
              <c15:datalabelsRange>
                <c15:f>Sheet1!$E$2:$E$29</c15:f>
                <c15:dlblRangeCache>
                  <c:ptCount val="28"/>
                  <c:pt idx="0">
                    <c:v>Boursin Classique Fromage Frais A Tartiner Afh 1X160Gr 10P</c:v>
                  </c:pt>
                  <c:pt idx="1">
                    <c:v>La Vache Qui Rit Aro Fromage Fondu Boite Ronde Jambon 1X133Gr 8P</c:v>
                  </c:pt>
                  <c:pt idx="2">
                    <c:v>Boursin Classique Fromage Frais A Tartiner Afh Boite 1X150Gr 1P</c:v>
                  </c:pt>
                  <c:pt idx="3">
                    <c:v>Boursin Classique Fromage Frais A Tartiner Truffe Boite 1X150Gr 1P</c:v>
                  </c:pt>
                  <c:pt idx="4">
                    <c:v>Boursin Classique Fromage Frais A Tartiner Figue Et 3 Noix Boite 1X150Gr 1P</c:v>
                  </c:pt>
                  <c:pt idx="5">
                    <c:v>Boursin Classique Fromage Frais A Tartiner Ciboulette &amp; Echalote Boite 1X150Gr 1P</c:v>
                  </c:pt>
                  <c:pt idx="6">
                    <c:v>Kiri Creme Fromage Blanc Frais Carre 1X432Gr 24P</c:v>
                  </c:pt>
                  <c:pt idx="7">
                    <c:v>Kiri Creme Fromage Blanc Frais Carre 1X216Gr 12P</c:v>
                  </c:pt>
                  <c:pt idx="8">
                    <c:v>La Vache Qui Rit Nature Fromage Fondu Boite Ronde 1X192Gr 12P</c:v>
                  </c:pt>
                  <c:pt idx="9">
                    <c:v>La Vache Qui Rit Nature Fromage Fondu Boite Ronde 1X512Gr 24+8P</c:v>
                  </c:pt>
                  <c:pt idx="10">
                    <c:v>La Vache Qui Rit Nature Fromage Fondu Boite Ronde 1X384Gr 24P</c:v>
                  </c:pt>
                  <c:pt idx="11">
                    <c:v>La Vache Qui Rit Nature Fromage Fondu Boite Ronde 1X512Gr 32P</c:v>
                  </c:pt>
                  <c:pt idx="12">
                    <c:v>La Vache Qui Rit Allegee Fromage Fondu Boite Ronde Allege 1X267Gr 16P</c:v>
                  </c:pt>
                  <c:pt idx="13">
                    <c:v>Kiri Delicieusement Fouette Fromage Frais A Tartiner 1X125Gr 1P</c:v>
                  </c:pt>
                  <c:pt idx="14">
                    <c:v>Kiri Delicieusement Fouette Fromage Frais A Tartiner 1X210Gr 1P</c:v>
                  </c:pt>
                  <c:pt idx="15">
                    <c:v>Kiri Gouter Fromage Blanc Dips Boite 1X175Gr 5P</c:v>
                  </c:pt>
                  <c:pt idx="16">
                    <c:v>Kiri Gouter Fromage Blanc Dips Boite 1X280Gr 8P</c:v>
                  </c:pt>
                  <c:pt idx="17">
                    <c:v>La Vache Qui Rit Pik Et Croq' Fromage Fondu Dips Boite 1X175Gr 5P</c:v>
                  </c:pt>
                  <c:pt idx="18">
                    <c:v>La Vache Qui Rit Pik Et Croq' Fromage Fondu Dips Boite 1X280Gr 8P</c:v>
                  </c:pt>
                  <c:pt idx="19">
                    <c:v>Kiri Creme Fromage Blanc Frais Carre 1X432Gr 18+6P</c:v>
                  </c:pt>
                  <c:pt idx="20">
                    <c:v>Kiri Creme Fromage Blanc Frais Carre 1X144Gr 8P</c:v>
                  </c:pt>
                  <c:pt idx="21">
                    <c:v>Kiri Bio Fromage Blanc Frais Carre 1X144Gr 8P</c:v>
                  </c:pt>
                  <c:pt idx="22">
                    <c:v>Kiri Delicieusement Fouette Fromage Frais A Tartiner 1X160Gr 10P</c:v>
                  </c:pt>
                  <c:pt idx="23">
                    <c:v>Boursin Salade &amp; Aperitif Fromage Frais Des Afh 1X120Gr 1P</c:v>
                  </c:pt>
                  <c:pt idx="24">
                    <c:v>Boursin Salade &amp; Aperitif Fromage Frais Des Figue Noix 1X120Gr 1P</c:v>
                  </c:pt>
                  <c:pt idx="25">
                    <c:v>Boursin Salade &amp; Aperitif Fromage Frais Des Noisette Et 3 Noix 1X120Gr 1P</c:v>
                  </c:pt>
                  <c:pt idx="26">
                    <c:v>Boursin Salade &amp; Aperitif Fromage Frais Des Ciboulette Echalote 1X120Gr 1P</c:v>
                  </c:pt>
                  <c:pt idx="27">
                    <c:v>Boursin Salade &amp; Aperitif Fromage Frais Des Citron Romarin 1X120Gr 1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46232"/>
          <c:min val="4.0185599999999999"/>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3920850578030831"/>
        <c:crossBetween val="midCat"/>
      </c:valAx>
      <c:valAx>
        <c:axId val="1011451359"/>
        <c:scaling>
          <c:orientation val="minMax"/>
          <c:max val="0.93743999999999994"/>
          <c:min val="-0.263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7.762305354781155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7ECAC4"/>
              </a:solidFill>
            </c:spPr>
            <c:extLst>
              <c:ext xmlns:c16="http://schemas.microsoft.com/office/drawing/2014/chart" uri="{C3380CC4-5D6E-409C-BE32-E72D297353CC}">
                <c16:uniqueId val="{0000000D-7D2A-4F1E-BC80-EAAAE9B08A80}"/>
              </c:ext>
            </c:extLst>
          </c:dPt>
          <c:dPt>
            <c:idx val="8"/>
            <c:invertIfNegative val="1"/>
            <c:bubble3D val="0"/>
            <c:spPr>
              <a:solidFill>
                <a:srgbClr val="006C6D"/>
              </a:solidFill>
            </c:spPr>
            <c:extLst>
              <c:ext xmlns:c16="http://schemas.microsoft.com/office/drawing/2014/chart" uri="{C3380CC4-5D6E-409C-BE32-E72D297353CC}">
                <c16:uniqueId val="{00000011-78D1-41D4-ABFA-320BD44357BD}"/>
              </c:ext>
            </c:extLst>
          </c:dPt>
          <c:dPt>
            <c:idx val="9"/>
            <c:invertIfNegative val="1"/>
            <c:bubble3D val="0"/>
            <c:spPr>
              <a:solidFill>
                <a:srgbClr val="7ECAC4"/>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006C6D"/>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40A8-43BC-8B5A-A4336B67DF2E}"/>
              </c:ext>
            </c:extLst>
          </c:dPt>
          <c:dPt>
            <c:idx val="13"/>
            <c:invertIfNegative val="1"/>
            <c:bubble3D val="0"/>
            <c:spPr>
              <a:solidFill>
                <a:srgbClr val="7ECAC4"/>
              </a:solidFill>
            </c:spPr>
            <c:extLst>
              <c:ext xmlns:c16="http://schemas.microsoft.com/office/drawing/2014/chart" uri="{C3380CC4-5D6E-409C-BE32-E72D297353CC}">
                <c16:uniqueId val="{0000001B-40A8-43BC-8B5A-A4336B67DF2E}"/>
              </c:ext>
            </c:extLst>
          </c:dPt>
          <c:dPt>
            <c:idx val="14"/>
            <c:invertIfNegative val="1"/>
            <c:bubble3D val="0"/>
            <c:spPr>
              <a:solidFill>
                <a:srgbClr val="006C6D"/>
              </a:solidFill>
            </c:spPr>
            <c:extLst>
              <c:ext xmlns:c16="http://schemas.microsoft.com/office/drawing/2014/chart" uri="{C3380CC4-5D6E-409C-BE32-E72D297353CC}">
                <c16:uniqueId val="{0000001D-40A8-43BC-8B5A-A4336B67DF2E}"/>
              </c:ext>
            </c:extLst>
          </c:dPt>
          <c:dPt>
            <c:idx val="15"/>
            <c:invertIfNegative val="1"/>
            <c:bubble3D val="0"/>
            <c:spPr>
              <a:solidFill>
                <a:srgbClr val="006C6D"/>
              </a:solidFill>
            </c:spPr>
            <c:extLst>
              <c:ext xmlns:c16="http://schemas.microsoft.com/office/drawing/2014/chart" uri="{C3380CC4-5D6E-409C-BE32-E72D297353CC}">
                <c16:uniqueId val="{0000001F-40A8-43BC-8B5A-A4336B67DF2E}"/>
              </c:ext>
            </c:extLst>
          </c:dPt>
          <c:dPt>
            <c:idx val="16"/>
            <c:invertIfNegative val="1"/>
            <c:bubble3D val="0"/>
            <c:spPr>
              <a:solidFill>
                <a:srgbClr val="006C6D"/>
              </a:solidFill>
            </c:spPr>
            <c:extLst>
              <c:ext xmlns:c16="http://schemas.microsoft.com/office/drawing/2014/chart" uri="{C3380CC4-5D6E-409C-BE32-E72D297353CC}">
                <c16:uniqueId val="{00000021-40A8-43BC-8B5A-A4336B67DF2E}"/>
              </c:ext>
            </c:extLst>
          </c:dPt>
          <c:dPt>
            <c:idx val="17"/>
            <c:invertIfNegative val="1"/>
            <c:bubble3D val="0"/>
            <c:spPr>
              <a:solidFill>
                <a:srgbClr val="006C6D"/>
              </a:solidFill>
            </c:spPr>
            <c:extLst>
              <c:ext xmlns:c16="http://schemas.microsoft.com/office/drawing/2014/chart" uri="{C3380CC4-5D6E-409C-BE32-E72D297353CC}">
                <c16:uniqueId val="{00000023-40A8-43BC-8B5A-A4336B67DF2E}"/>
              </c:ext>
            </c:extLst>
          </c:dPt>
          <c:dPt>
            <c:idx val="18"/>
            <c:invertIfNegative val="1"/>
            <c:bubble3D val="0"/>
            <c:spPr>
              <a:solidFill>
                <a:srgbClr val="006C6D"/>
              </a:solidFill>
            </c:spPr>
            <c:extLst>
              <c:ext xmlns:c16="http://schemas.microsoft.com/office/drawing/2014/chart" uri="{C3380CC4-5D6E-409C-BE32-E72D297353CC}">
                <c16:uniqueId val="{00000025-40A8-43BC-8B5A-A4336B67DF2E}"/>
              </c:ext>
            </c:extLst>
          </c:dPt>
          <c:dPt>
            <c:idx val="19"/>
            <c:invertIfNegative val="1"/>
            <c:bubble3D val="0"/>
            <c:spPr>
              <a:solidFill>
                <a:srgbClr val="C00000"/>
              </a:solidFill>
            </c:spPr>
            <c:extLst>
              <c:ext xmlns:c16="http://schemas.microsoft.com/office/drawing/2014/chart" uri="{C3380CC4-5D6E-409C-BE32-E72D297353CC}">
                <c16:uniqueId val="{00000027-40A8-43BC-8B5A-A4336B67DF2E}"/>
              </c:ext>
            </c:extLst>
          </c:dPt>
          <c:dPt>
            <c:idx val="20"/>
            <c:invertIfNegative val="1"/>
            <c:bubble3D val="0"/>
            <c:spPr>
              <a:solidFill>
                <a:srgbClr val="006C6D"/>
              </a:solidFill>
            </c:spPr>
            <c:extLst>
              <c:ext xmlns:c16="http://schemas.microsoft.com/office/drawing/2014/chart" uri="{C3380CC4-5D6E-409C-BE32-E72D297353CC}">
                <c16:uniqueId val="{00000029-40A8-43BC-8B5A-A4336B67DF2E}"/>
              </c:ext>
            </c:extLst>
          </c:dPt>
          <c:dPt>
            <c:idx val="21"/>
            <c:invertIfNegative val="1"/>
            <c:bubble3D val="0"/>
            <c:spPr>
              <a:solidFill>
                <a:srgbClr val="006C6D"/>
              </a:solidFill>
            </c:spPr>
            <c:extLst>
              <c:ext xmlns:c16="http://schemas.microsoft.com/office/drawing/2014/chart" uri="{C3380CC4-5D6E-409C-BE32-E72D297353CC}">
                <c16:uniqueId val="{0000002B-40A8-43BC-8B5A-A4336B67DF2E}"/>
              </c:ext>
            </c:extLst>
          </c:dPt>
          <c:dPt>
            <c:idx val="22"/>
            <c:invertIfNegative val="1"/>
            <c:bubble3D val="0"/>
            <c:spPr>
              <a:solidFill>
                <a:srgbClr val="006C6D"/>
              </a:solidFill>
            </c:spPr>
            <c:extLst>
              <c:ext xmlns:c16="http://schemas.microsoft.com/office/drawing/2014/chart" uri="{C3380CC4-5D6E-409C-BE32-E72D297353CC}">
                <c16:uniqueId val="{0000002D-40A8-43BC-8B5A-A4336B67DF2E}"/>
              </c:ext>
            </c:extLst>
          </c:dPt>
          <c:dPt>
            <c:idx val="23"/>
            <c:invertIfNegative val="1"/>
            <c:bubble3D val="0"/>
            <c:spPr>
              <a:solidFill>
                <a:srgbClr val="006C6D"/>
              </a:solidFill>
            </c:spPr>
            <c:extLst>
              <c:ext xmlns:c16="http://schemas.microsoft.com/office/drawing/2014/chart" uri="{C3380CC4-5D6E-409C-BE32-E72D297353CC}">
                <c16:uniqueId val="{0000002F-40A8-43BC-8B5A-A4336B67DF2E}"/>
              </c:ext>
            </c:extLst>
          </c:dPt>
          <c:dPt>
            <c:idx val="24"/>
            <c:invertIfNegative val="1"/>
            <c:bubble3D val="0"/>
            <c:spPr>
              <a:solidFill>
                <a:srgbClr val="006C6D"/>
              </a:solidFill>
            </c:spPr>
            <c:extLst>
              <c:ext xmlns:c16="http://schemas.microsoft.com/office/drawing/2014/chart" uri="{C3380CC4-5D6E-409C-BE32-E72D297353CC}">
                <c16:uniqueId val="{00000031-40A8-43BC-8B5A-A4336B67DF2E}"/>
              </c:ext>
            </c:extLst>
          </c:dPt>
          <c:dPt>
            <c:idx val="25"/>
            <c:invertIfNegative val="1"/>
            <c:bubble3D val="0"/>
            <c:spPr>
              <a:solidFill>
                <a:srgbClr val="006C6D"/>
              </a:solidFill>
            </c:spPr>
            <c:extLst>
              <c:ext xmlns:c16="http://schemas.microsoft.com/office/drawing/2014/chart" uri="{C3380CC4-5D6E-409C-BE32-E72D297353CC}">
                <c16:uniqueId val="{00000033-40A8-43BC-8B5A-A4336B67DF2E}"/>
              </c:ext>
            </c:extLst>
          </c:dPt>
          <c:dPt>
            <c:idx val="26"/>
            <c:invertIfNegative val="1"/>
            <c:bubble3D val="0"/>
            <c:spPr>
              <a:solidFill>
                <a:srgbClr val="FF8080"/>
              </a:solidFill>
            </c:spPr>
            <c:extLst>
              <c:ext xmlns:c16="http://schemas.microsoft.com/office/drawing/2014/chart" uri="{C3380CC4-5D6E-409C-BE32-E72D297353CC}">
                <c16:uniqueId val="{00000035-40A8-43BC-8B5A-A4336B67DF2E}"/>
              </c:ext>
            </c:extLst>
          </c:dPt>
          <c:dPt>
            <c:idx val="27"/>
            <c:invertIfNegative val="1"/>
            <c:bubble3D val="0"/>
            <c:spPr>
              <a:solidFill>
                <a:srgbClr val="C00000"/>
              </a:solidFill>
            </c:spPr>
            <c:extLst>
              <c:ext xmlns:c16="http://schemas.microsoft.com/office/drawing/2014/chart" uri="{C3380CC4-5D6E-409C-BE32-E72D297353CC}">
                <c16:uniqueId val="{00000037-40A8-43BC-8B5A-A4336B67DF2E}"/>
              </c:ext>
            </c:extLst>
          </c:dPt>
          <c:dPt>
            <c:idx val="28"/>
            <c:invertIfNegative val="1"/>
            <c:bubble3D val="0"/>
            <c:spPr>
              <a:solidFill>
                <a:srgbClr val="006C6D"/>
              </a:solidFill>
            </c:spPr>
            <c:extLst>
              <c:ext xmlns:c16="http://schemas.microsoft.com/office/drawing/2014/chart" uri="{C3380CC4-5D6E-409C-BE32-E72D297353CC}">
                <c16:uniqueId val="{00000039-40A8-43BC-8B5A-A4336B67DF2E}"/>
              </c:ext>
            </c:extLst>
          </c:dPt>
          <c:dPt>
            <c:idx val="29"/>
            <c:invertIfNegative val="1"/>
            <c:bubble3D val="0"/>
            <c:spPr>
              <a:solidFill>
                <a:srgbClr val="006C6D"/>
              </a:solidFill>
            </c:spPr>
            <c:extLst>
              <c:ext xmlns:c16="http://schemas.microsoft.com/office/drawing/2014/chart" uri="{C3380CC4-5D6E-409C-BE32-E72D297353CC}">
                <c16:uniqueId val="{0000003B-40A8-43BC-8B5A-A4336B67DF2E}"/>
              </c:ext>
            </c:extLst>
          </c:dPt>
          <c:dPt>
            <c:idx val="30"/>
            <c:invertIfNegative val="1"/>
            <c:bubble3D val="0"/>
            <c:spPr>
              <a:solidFill>
                <a:srgbClr val="C00000"/>
              </a:solidFill>
            </c:spPr>
            <c:extLst>
              <c:ext xmlns:c16="http://schemas.microsoft.com/office/drawing/2014/chart" uri="{C3380CC4-5D6E-409C-BE32-E72D297353CC}">
                <c16:uniqueId val="{0000003D-40A8-43BC-8B5A-A4336B67DF2E}"/>
              </c:ext>
            </c:extLst>
          </c:dPt>
          <c:dPt>
            <c:idx val="31"/>
            <c:invertIfNegative val="1"/>
            <c:bubble3D val="0"/>
            <c:spPr>
              <a:solidFill>
                <a:srgbClr val="7ECAC4"/>
              </a:solidFill>
            </c:spPr>
            <c:extLst>
              <c:ext xmlns:c16="http://schemas.microsoft.com/office/drawing/2014/chart" uri="{C3380CC4-5D6E-409C-BE32-E72D297353CC}">
                <c16:uniqueId val="{0000003F-40A8-43BC-8B5A-A4336B67DF2E}"/>
              </c:ext>
            </c:extLst>
          </c:dPt>
          <c:dPt>
            <c:idx val="32"/>
            <c:invertIfNegative val="1"/>
            <c:bubble3D val="0"/>
            <c:spPr>
              <a:solidFill>
                <a:srgbClr val="006C6D"/>
              </a:solidFill>
            </c:spPr>
            <c:extLst>
              <c:ext xmlns:c16="http://schemas.microsoft.com/office/drawing/2014/chart" uri="{C3380CC4-5D6E-409C-BE32-E72D297353CC}">
                <c16:uniqueId val="{00000041-40A8-43BC-8B5A-A4336B67DF2E}"/>
              </c:ext>
            </c:extLst>
          </c:dPt>
          <c:dPt>
            <c:idx val="33"/>
            <c:invertIfNegative val="1"/>
            <c:bubble3D val="0"/>
            <c:spPr>
              <a:solidFill>
                <a:srgbClr val="006C6D"/>
              </a:solidFill>
            </c:spPr>
            <c:extLst>
              <c:ext xmlns:c16="http://schemas.microsoft.com/office/drawing/2014/chart" uri="{C3380CC4-5D6E-409C-BE32-E72D297353CC}">
                <c16:uniqueId val="{00000043-40A8-43BC-8B5A-A4336B67DF2E}"/>
              </c:ext>
            </c:extLst>
          </c:dPt>
          <c:dPt>
            <c:idx val="34"/>
            <c:invertIfNegative val="1"/>
            <c:bubble3D val="0"/>
            <c:spPr>
              <a:solidFill>
                <a:srgbClr val="006C6D"/>
              </a:solidFill>
            </c:spPr>
            <c:extLst>
              <c:ext xmlns:c16="http://schemas.microsoft.com/office/drawing/2014/chart" uri="{C3380CC4-5D6E-409C-BE32-E72D297353CC}">
                <c16:uniqueId val="{00000045-40A8-43BC-8B5A-A4336B67DF2E}"/>
              </c:ext>
            </c:extLst>
          </c:dPt>
          <c:dPt>
            <c:idx val="35"/>
            <c:invertIfNegative val="1"/>
            <c:bubble3D val="0"/>
            <c:spPr>
              <a:solidFill>
                <a:srgbClr val="006C6D"/>
              </a:solidFill>
            </c:spPr>
            <c:extLst>
              <c:ext xmlns:c16="http://schemas.microsoft.com/office/drawing/2014/chart" uri="{C3380CC4-5D6E-409C-BE32-E72D297353CC}">
                <c16:uniqueId val="{00000047-40A8-43BC-8B5A-A4336B67DF2E}"/>
              </c:ext>
            </c:extLst>
          </c:dPt>
          <c:dPt>
            <c:idx val="36"/>
            <c:invertIfNegative val="1"/>
            <c:bubble3D val="0"/>
            <c:spPr>
              <a:solidFill>
                <a:srgbClr val="006C6D"/>
              </a:solidFill>
            </c:spPr>
            <c:extLst>
              <c:ext xmlns:c16="http://schemas.microsoft.com/office/drawing/2014/chart" uri="{C3380CC4-5D6E-409C-BE32-E72D297353CC}">
                <c16:uniqueId val="{00000049-40A8-43BC-8B5A-A4336B67DF2E}"/>
              </c:ext>
            </c:extLst>
          </c:dPt>
          <c:dPt>
            <c:idx val="37"/>
            <c:invertIfNegative val="1"/>
            <c:bubble3D val="0"/>
            <c:spPr>
              <a:solidFill>
                <a:srgbClr val="C00000"/>
              </a:solidFill>
            </c:spPr>
            <c:extLst>
              <c:ext xmlns:c16="http://schemas.microsoft.com/office/drawing/2014/chart" uri="{C3380CC4-5D6E-409C-BE32-E72D297353CC}">
                <c16:uniqueId val="{0000004B-40A8-43BC-8B5A-A4336B67DF2E}"/>
              </c:ext>
            </c:extLst>
          </c:dPt>
          <c:dPt>
            <c:idx val="38"/>
            <c:invertIfNegative val="1"/>
            <c:bubble3D val="0"/>
            <c:spPr>
              <a:solidFill>
                <a:srgbClr val="006C6D"/>
              </a:solidFill>
            </c:spPr>
            <c:extLst>
              <c:ext xmlns:c16="http://schemas.microsoft.com/office/drawing/2014/chart" uri="{C3380CC4-5D6E-409C-BE32-E72D297353CC}">
                <c16:uniqueId val="{0000004D-40A8-43BC-8B5A-A4336B67DF2E}"/>
              </c:ext>
            </c:extLst>
          </c:dPt>
          <c:dPt>
            <c:idx val="39"/>
            <c:invertIfNegative val="1"/>
            <c:bubble3D val="0"/>
            <c:spPr>
              <a:solidFill>
                <a:srgbClr val="006C6D"/>
              </a:solidFill>
            </c:spPr>
            <c:extLst>
              <c:ext xmlns:c16="http://schemas.microsoft.com/office/drawing/2014/chart" uri="{C3380CC4-5D6E-409C-BE32-E72D297353CC}">
                <c16:uniqueId val="{0000004F-40A8-43BC-8B5A-A4336B67DF2E}"/>
              </c:ext>
            </c:extLst>
          </c:dPt>
          <c:dPt>
            <c:idx val="40"/>
            <c:invertIfNegative val="1"/>
            <c:bubble3D val="0"/>
            <c:spPr>
              <a:solidFill>
                <a:srgbClr val="006C6D"/>
              </a:solidFill>
            </c:spPr>
            <c:extLst>
              <c:ext xmlns:c16="http://schemas.microsoft.com/office/drawing/2014/chart" uri="{C3380CC4-5D6E-409C-BE32-E72D297353CC}">
                <c16:uniqueId val="{00000051-40A8-43BC-8B5A-A4336B67DF2E}"/>
              </c:ext>
            </c:extLst>
          </c:dPt>
          <c:dPt>
            <c:idx val="41"/>
            <c:invertIfNegative val="1"/>
            <c:bubble3D val="0"/>
            <c:spPr>
              <a:solidFill>
                <a:srgbClr val="C00000"/>
              </a:solidFill>
            </c:spPr>
            <c:extLst>
              <c:ext xmlns:c16="http://schemas.microsoft.com/office/drawing/2014/chart" uri="{C3380CC4-5D6E-409C-BE32-E72D297353CC}">
                <c16:uniqueId val="{00000053-40A8-43BC-8B5A-A4336B67DF2E}"/>
              </c:ext>
            </c:extLst>
          </c:dPt>
          <c:dPt>
            <c:idx val="42"/>
            <c:invertIfNegative val="1"/>
            <c:bubble3D val="0"/>
            <c:spPr>
              <a:solidFill>
                <a:srgbClr val="006C6D"/>
              </a:solidFill>
            </c:spPr>
            <c:extLst>
              <c:ext xmlns:c16="http://schemas.microsoft.com/office/drawing/2014/chart" uri="{C3380CC4-5D6E-409C-BE32-E72D297353CC}">
                <c16:uniqueId val="{00000055-40A8-43BC-8B5A-A4336B67DF2E}"/>
              </c:ext>
            </c:extLst>
          </c:dPt>
          <c:dPt>
            <c:idx val="43"/>
            <c:invertIfNegative val="1"/>
            <c:bubble3D val="0"/>
            <c:spPr>
              <a:solidFill>
                <a:srgbClr val="006C6D"/>
              </a:solidFill>
            </c:spPr>
            <c:extLst>
              <c:ext xmlns:c16="http://schemas.microsoft.com/office/drawing/2014/chart" uri="{C3380CC4-5D6E-409C-BE32-E72D297353CC}">
                <c16:uniqueId val="{00000057-40A8-43BC-8B5A-A4336B67DF2E}"/>
              </c:ext>
            </c:extLst>
          </c:dPt>
          <c:dPt>
            <c:idx val="44"/>
            <c:invertIfNegative val="1"/>
            <c:bubble3D val="0"/>
            <c:spPr>
              <a:solidFill>
                <a:srgbClr val="C00000"/>
              </a:solidFill>
            </c:spPr>
            <c:extLst>
              <c:ext xmlns:c16="http://schemas.microsoft.com/office/drawing/2014/chart" uri="{C3380CC4-5D6E-409C-BE32-E72D297353CC}">
                <c16:uniqueId val="{00000059-40A8-43BC-8B5A-A4336B67DF2E}"/>
              </c:ext>
            </c:extLst>
          </c:dPt>
          <c:dLbls>
            <c:dLbl>
              <c:idx val="0"/>
              <c:tx>
                <c:rich>
                  <a:bodyPr/>
                  <a:lstStyle/>
                  <a:p>
                    <a:fld id="{E00BEB9C-C287-4A69-AA0E-8A44F7B0E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013874F-F1F3-4C52-A1CF-05DF78560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CD768A7-9DD7-4DA5-9DB0-6AD95FFD9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839AA53-33FB-42F9-9CD7-2CCD98B82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2E23B02-D4CD-4B79-ABD5-C4FBA47CC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52CDFD9-C79F-441C-8241-5BEAA8D73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39A2F29-922B-41E2-9407-DC405E3B2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C6F8FD9-2B3D-41BA-8BD0-5ED31F903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802166B0-79B2-4461-8A47-46168FEA0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DBCAC9DF-7187-405A-9293-C0E72A2E4E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81CF622B-BEFC-4870-9CFB-722718BCB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0A6C04CB-5EC2-49F2-AA1B-0B86D6016E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349F938D-3DE5-4E91-AA75-2D1AB7BA4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0A8-43BC-8B5A-A4336B67DF2E}"/>
                </c:ext>
              </c:extLst>
            </c:dLbl>
            <c:dLbl>
              <c:idx val="13"/>
              <c:tx>
                <c:rich>
                  <a:bodyPr/>
                  <a:lstStyle/>
                  <a:p>
                    <a:fld id="{DD3FE129-491F-40A9-8096-37E44FBB1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0A8-43BC-8B5A-A4336B67DF2E}"/>
                </c:ext>
              </c:extLst>
            </c:dLbl>
            <c:dLbl>
              <c:idx val="14"/>
              <c:tx>
                <c:rich>
                  <a:bodyPr/>
                  <a:lstStyle/>
                  <a:p>
                    <a:fld id="{D9AECD47-ED97-46BD-B6D1-93359ADC6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0A8-43BC-8B5A-A4336B67DF2E}"/>
                </c:ext>
              </c:extLst>
            </c:dLbl>
            <c:dLbl>
              <c:idx val="15"/>
              <c:tx>
                <c:rich>
                  <a:bodyPr/>
                  <a:lstStyle/>
                  <a:p>
                    <a:fld id="{F2856FE9-F4AF-4A41-BEC4-6D1C7DAFB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0A8-43BC-8B5A-A4336B67DF2E}"/>
                </c:ext>
              </c:extLst>
            </c:dLbl>
            <c:dLbl>
              <c:idx val="16"/>
              <c:tx>
                <c:rich>
                  <a:bodyPr/>
                  <a:lstStyle/>
                  <a:p>
                    <a:fld id="{28C80ABD-270C-4284-9B35-84AC6F8FE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0A8-43BC-8B5A-A4336B67DF2E}"/>
                </c:ext>
              </c:extLst>
            </c:dLbl>
            <c:dLbl>
              <c:idx val="17"/>
              <c:tx>
                <c:rich>
                  <a:bodyPr/>
                  <a:lstStyle/>
                  <a:p>
                    <a:fld id="{110B1AC9-8034-4521-B471-86D7A4309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0A8-43BC-8B5A-A4336B67DF2E}"/>
                </c:ext>
              </c:extLst>
            </c:dLbl>
            <c:dLbl>
              <c:idx val="18"/>
              <c:tx>
                <c:rich>
                  <a:bodyPr/>
                  <a:lstStyle/>
                  <a:p>
                    <a:fld id="{F2BDFCAC-E8E7-4C42-8CE7-1BC8A954E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0A8-43BC-8B5A-A4336B67DF2E}"/>
                </c:ext>
              </c:extLst>
            </c:dLbl>
            <c:dLbl>
              <c:idx val="19"/>
              <c:tx>
                <c:rich>
                  <a:bodyPr/>
                  <a:lstStyle/>
                  <a:p>
                    <a:fld id="{543A8A7B-0668-42D6-9FC9-E060003224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40A8-43BC-8B5A-A4336B67DF2E}"/>
                </c:ext>
              </c:extLst>
            </c:dLbl>
            <c:dLbl>
              <c:idx val="20"/>
              <c:tx>
                <c:rich>
                  <a:bodyPr/>
                  <a:lstStyle/>
                  <a:p>
                    <a:fld id="{5D0E3757-D3F0-4192-A102-0F7339940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40A8-43BC-8B5A-A4336B67DF2E}"/>
                </c:ext>
              </c:extLst>
            </c:dLbl>
            <c:dLbl>
              <c:idx val="21"/>
              <c:tx>
                <c:rich>
                  <a:bodyPr/>
                  <a:lstStyle/>
                  <a:p>
                    <a:fld id="{F7791AAF-689A-489A-BD07-B14019E14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40A8-43BC-8B5A-A4336B67DF2E}"/>
                </c:ext>
              </c:extLst>
            </c:dLbl>
            <c:dLbl>
              <c:idx val="22"/>
              <c:tx>
                <c:rich>
                  <a:bodyPr/>
                  <a:lstStyle/>
                  <a:p>
                    <a:fld id="{84D8209C-DA8A-4E57-8A72-FD50EEDBD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40A8-43BC-8B5A-A4336B67DF2E}"/>
                </c:ext>
              </c:extLst>
            </c:dLbl>
            <c:dLbl>
              <c:idx val="23"/>
              <c:tx>
                <c:rich>
                  <a:bodyPr/>
                  <a:lstStyle/>
                  <a:p>
                    <a:fld id="{97F026D4-889C-47C1-99E2-BCA6D7381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40A8-43BC-8B5A-A4336B67DF2E}"/>
                </c:ext>
              </c:extLst>
            </c:dLbl>
            <c:dLbl>
              <c:idx val="24"/>
              <c:tx>
                <c:rich>
                  <a:bodyPr/>
                  <a:lstStyle/>
                  <a:p>
                    <a:fld id="{A1FD64AB-A510-4411-839E-3143187E5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40A8-43BC-8B5A-A4336B67DF2E}"/>
                </c:ext>
              </c:extLst>
            </c:dLbl>
            <c:dLbl>
              <c:idx val="25"/>
              <c:tx>
                <c:rich>
                  <a:bodyPr/>
                  <a:lstStyle/>
                  <a:p>
                    <a:fld id="{45E0D5B4-2770-4717-832C-72486C327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40A8-43BC-8B5A-A4336B67DF2E}"/>
                </c:ext>
              </c:extLst>
            </c:dLbl>
            <c:dLbl>
              <c:idx val="26"/>
              <c:tx>
                <c:rich>
                  <a:bodyPr/>
                  <a:lstStyle/>
                  <a:p>
                    <a:fld id="{86666E52-F8E3-4EC4-9A70-444EF6A1C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40A8-43BC-8B5A-A4336B67DF2E}"/>
                </c:ext>
              </c:extLst>
            </c:dLbl>
            <c:dLbl>
              <c:idx val="27"/>
              <c:tx>
                <c:rich>
                  <a:bodyPr/>
                  <a:lstStyle/>
                  <a:p>
                    <a:fld id="{1052EA42-CBF3-45FD-91D2-4C55E3809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40A8-43BC-8B5A-A4336B67DF2E}"/>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40A8-43BC-8B5A-A4336B67DF2E}"/>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B-40A8-43BC-8B5A-A4336B67DF2E}"/>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D-40A8-43BC-8B5A-A4336B67DF2E}"/>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F-40A8-43BC-8B5A-A4336B67DF2E}"/>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1-40A8-43BC-8B5A-A4336B67DF2E}"/>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3-40A8-43BC-8B5A-A4336B67DF2E}"/>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5-40A8-43BC-8B5A-A4336B67DF2E}"/>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7-40A8-43BC-8B5A-A4336B67DF2E}"/>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9-40A8-43BC-8B5A-A4336B67DF2E}"/>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B-40A8-43BC-8B5A-A4336B67DF2E}"/>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D-40A8-43BC-8B5A-A4336B67DF2E}"/>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4F-40A8-43BC-8B5A-A4336B67DF2E}"/>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1-40A8-43BC-8B5A-A4336B67DF2E}"/>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3-40A8-43BC-8B5A-A4336B67DF2E}"/>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5-40A8-43BC-8B5A-A4336B67DF2E}"/>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7-40A8-43BC-8B5A-A4336B67DF2E}"/>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59-40A8-43BC-8B5A-A4336B67DF2E}"/>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6</c:f>
              <c:numCache>
                <c:formatCode>General</c:formatCode>
                <c:ptCount val="45"/>
                <c:pt idx="0">
                  <c:v>9.9535999999999998</c:v>
                </c:pt>
                <c:pt idx="1">
                  <c:v>9.3444000000000003</c:v>
                </c:pt>
                <c:pt idx="2">
                  <c:v>7.6619999999999999</c:v>
                </c:pt>
                <c:pt idx="3">
                  <c:v>9.5295000000000005</c:v>
                </c:pt>
                <c:pt idx="4">
                  <c:v>8.5922000000000001</c:v>
                </c:pt>
                <c:pt idx="5">
                  <c:v>9.4281000000000006</c:v>
                </c:pt>
                <c:pt idx="6">
                  <c:v>8.8962000000000003</c:v>
                </c:pt>
                <c:pt idx="7">
                  <c:v>5.8750999999999998</c:v>
                </c:pt>
                <c:pt idx="8">
                  <c:v>9.1408000000000005</c:v>
                </c:pt>
                <c:pt idx="9">
                  <c:v>8.0395000000000003</c:v>
                </c:pt>
                <c:pt idx="10">
                  <c:v>8.5373000000000001</c:v>
                </c:pt>
                <c:pt idx="11">
                  <c:v>5.2046000000000001</c:v>
                </c:pt>
                <c:pt idx="12">
                  <c:v>6.1547000000000001</c:v>
                </c:pt>
                <c:pt idx="13">
                  <c:v>4.9720000000000004</c:v>
                </c:pt>
                <c:pt idx="14">
                  <c:v>6.9996999999999998</c:v>
                </c:pt>
                <c:pt idx="15">
                  <c:v>8.7011000000000003</c:v>
                </c:pt>
                <c:pt idx="16">
                  <c:v>17.6187</c:v>
                </c:pt>
                <c:pt idx="17">
                  <c:v>10.275</c:v>
                </c:pt>
                <c:pt idx="18">
                  <c:v>8.9215</c:v>
                </c:pt>
                <c:pt idx="19">
                  <c:v>9.6654999999999998</c:v>
                </c:pt>
                <c:pt idx="20">
                  <c:v>7.4813999999999998</c:v>
                </c:pt>
                <c:pt idx="21">
                  <c:v>8.0606000000000009</c:v>
                </c:pt>
                <c:pt idx="22">
                  <c:v>7.8818999999999999</c:v>
                </c:pt>
                <c:pt idx="23">
                  <c:v>8.1347000000000005</c:v>
                </c:pt>
                <c:pt idx="24">
                  <c:v>6.1677</c:v>
                </c:pt>
                <c:pt idx="25">
                  <c:v>9.8193000000000001</c:v>
                </c:pt>
                <c:pt idx="26">
                  <c:v>10.297599999999999</c:v>
                </c:pt>
                <c:pt idx="27">
                  <c:v>9.8752999999999993</c:v>
                </c:pt>
                <c:pt idx="28">
                  <c:v>11.127000000000001</c:v>
                </c:pt>
                <c:pt idx="29">
                  <c:v>9.0464000000000002</c:v>
                </c:pt>
                <c:pt idx="30">
                  <c:v>7.8868999999999998</c:v>
                </c:pt>
                <c:pt idx="31">
                  <c:v>9.5960000000000001</c:v>
                </c:pt>
                <c:pt idx="32">
                  <c:v>10.1904</c:v>
                </c:pt>
                <c:pt idx="33">
                  <c:v>10.56</c:v>
                </c:pt>
                <c:pt idx="34">
                  <c:v>9.0784000000000002</c:v>
                </c:pt>
                <c:pt idx="35">
                  <c:v>10.6249</c:v>
                </c:pt>
                <c:pt idx="36">
                  <c:v>9.5538000000000007</c:v>
                </c:pt>
                <c:pt idx="37">
                  <c:v>8.7880000000000003</c:v>
                </c:pt>
                <c:pt idx="38">
                  <c:v>8.5708000000000002</c:v>
                </c:pt>
                <c:pt idx="39">
                  <c:v>9.9842999999999993</c:v>
                </c:pt>
                <c:pt idx="40">
                  <c:v>6.4592999999999998</c:v>
                </c:pt>
                <c:pt idx="41">
                  <c:v>6.8597000000000001</c:v>
                </c:pt>
                <c:pt idx="42">
                  <c:v>6.0998999999999999</c:v>
                </c:pt>
                <c:pt idx="43">
                  <c:v>7.7256</c:v>
                </c:pt>
                <c:pt idx="44">
                  <c:v>10.465199999999999</c:v>
                </c:pt>
              </c:numCache>
            </c:numRef>
          </c:xVal>
          <c:yVal>
            <c:numRef>
              <c:f>Sheet1!$B$2:$B$46</c:f>
              <c:numCache>
                <c:formatCode>General</c:formatCode>
                <c:ptCount val="45"/>
                <c:pt idx="0">
                  <c:v>0.33229999999999998</c:v>
                </c:pt>
                <c:pt idx="1">
                  <c:v>0.39789999999999998</c:v>
                </c:pt>
                <c:pt idx="2">
                  <c:v>0.1164</c:v>
                </c:pt>
                <c:pt idx="3">
                  <c:v>0.37059999999999998</c:v>
                </c:pt>
                <c:pt idx="4">
                  <c:v>0.26329999999999998</c:v>
                </c:pt>
                <c:pt idx="5">
                  <c:v>0.34</c:v>
                </c:pt>
                <c:pt idx="6">
                  <c:v>0.3397</c:v>
                </c:pt>
                <c:pt idx="7">
                  <c:v>0.1764</c:v>
                </c:pt>
                <c:pt idx="8">
                  <c:v>0.45519999999999999</c:v>
                </c:pt>
                <c:pt idx="9">
                  <c:v>0.44550000000000001</c:v>
                </c:pt>
                <c:pt idx="10">
                  <c:v>0.438</c:v>
                </c:pt>
                <c:pt idx="11">
                  <c:v>0.1852</c:v>
                </c:pt>
                <c:pt idx="12">
                  <c:v>0.30149999999999999</c:v>
                </c:pt>
                <c:pt idx="13">
                  <c:v>0.14399999999999999</c:v>
                </c:pt>
                <c:pt idx="14">
                  <c:v>0.4461</c:v>
                </c:pt>
                <c:pt idx="15">
                  <c:v>0.49409999999999998</c:v>
                </c:pt>
                <c:pt idx="16">
                  <c:v>0.70169999999999999</c:v>
                </c:pt>
                <c:pt idx="17">
                  <c:v>0.40160000000000001</c:v>
                </c:pt>
                <c:pt idx="18">
                  <c:v>0.3861</c:v>
                </c:pt>
                <c:pt idx="19">
                  <c:v>0.12820000000000001</c:v>
                </c:pt>
                <c:pt idx="20">
                  <c:v>0.37559999999999999</c:v>
                </c:pt>
                <c:pt idx="21">
                  <c:v>0.43509999999999999</c:v>
                </c:pt>
                <c:pt idx="22">
                  <c:v>0.43030000000000002</c:v>
                </c:pt>
                <c:pt idx="23">
                  <c:v>0.46029999999999999</c:v>
                </c:pt>
                <c:pt idx="24">
                  <c:v>0.21809999999999999</c:v>
                </c:pt>
                <c:pt idx="25">
                  <c:v>0.499</c:v>
                </c:pt>
                <c:pt idx="26">
                  <c:v>0.39939999999999998</c:v>
                </c:pt>
                <c:pt idx="27">
                  <c:v>0.32579999999999998</c:v>
                </c:pt>
                <c:pt idx="28">
                  <c:v>0.34379999999999999</c:v>
                </c:pt>
                <c:pt idx="29">
                  <c:v>0.15479999999999999</c:v>
                </c:pt>
                <c:pt idx="30">
                  <c:v>7.4200000000000002E-2</c:v>
                </c:pt>
                <c:pt idx="31">
                  <c:v>0.20549999999999999</c:v>
                </c:pt>
                <c:pt idx="32">
                  <c:v>0.25459999999999999</c:v>
                </c:pt>
                <c:pt idx="33">
                  <c:v>0.39140000000000003</c:v>
                </c:pt>
                <c:pt idx="34">
                  <c:v>0.35070000000000001</c:v>
                </c:pt>
                <c:pt idx="35">
                  <c:v>0.36730000000000002</c:v>
                </c:pt>
                <c:pt idx="36">
                  <c:v>0.2873</c:v>
                </c:pt>
                <c:pt idx="37">
                  <c:v>0.24879999999999999</c:v>
                </c:pt>
                <c:pt idx="38">
                  <c:v>0.2989</c:v>
                </c:pt>
                <c:pt idx="39">
                  <c:v>0.34599999999999997</c:v>
                </c:pt>
                <c:pt idx="40">
                  <c:v>8.1500000000000003E-2</c:v>
                </c:pt>
                <c:pt idx="41">
                  <c:v>8.9099999999999999E-2</c:v>
                </c:pt>
                <c:pt idx="42">
                  <c:v>-1.0999999999999999E-2</c:v>
                </c:pt>
                <c:pt idx="43">
                  <c:v>7.9399999999999998E-2</c:v>
                </c:pt>
                <c:pt idx="44">
                  <c:v>0.28749999999999998</c:v>
                </c:pt>
              </c:numCache>
            </c:numRef>
          </c:yVal>
          <c:bubbleSize>
            <c:numRef>
              <c:f>Sheet1!$C$2:$C$46</c:f>
              <c:numCache>
                <c:formatCode>General</c:formatCode>
                <c:ptCount val="45"/>
                <c:pt idx="0">
                  <c:v>2046825.7823000001</c:v>
                </c:pt>
                <c:pt idx="1">
                  <c:v>16203.212299999999</c:v>
                </c:pt>
                <c:pt idx="2">
                  <c:v>31644.144499999999</c:v>
                </c:pt>
                <c:pt idx="3">
                  <c:v>2119021.4544000002</c:v>
                </c:pt>
                <c:pt idx="4">
                  <c:v>28852.473999999998</c:v>
                </c:pt>
                <c:pt idx="5">
                  <c:v>270671.19300000003</c:v>
                </c:pt>
                <c:pt idx="6">
                  <c:v>427959.80719999998</c:v>
                </c:pt>
                <c:pt idx="7">
                  <c:v>3725061.8516000002</c:v>
                </c:pt>
                <c:pt idx="8">
                  <c:v>2366962.6518000001</c:v>
                </c:pt>
                <c:pt idx="9">
                  <c:v>3547845.7535000001</c:v>
                </c:pt>
                <c:pt idx="10">
                  <c:v>2561.1941000000002</c:v>
                </c:pt>
                <c:pt idx="11">
                  <c:v>991517.41430000006</c:v>
                </c:pt>
                <c:pt idx="12">
                  <c:v>4149231.1453999998</c:v>
                </c:pt>
                <c:pt idx="13">
                  <c:v>7678155.8173000021</c:v>
                </c:pt>
                <c:pt idx="14">
                  <c:v>217318.38440000001</c:v>
                </c:pt>
                <c:pt idx="15">
                  <c:v>850339.46380000003</c:v>
                </c:pt>
                <c:pt idx="16">
                  <c:v>9602.1797999999999</c:v>
                </c:pt>
                <c:pt idx="17">
                  <c:v>394784.88339999988</c:v>
                </c:pt>
                <c:pt idx="18">
                  <c:v>270428.12439999997</c:v>
                </c:pt>
                <c:pt idx="19">
                  <c:v>77295.212800000008</c:v>
                </c:pt>
                <c:pt idx="20">
                  <c:v>1863564.0796999999</c:v>
                </c:pt>
                <c:pt idx="21">
                  <c:v>1155386.3507999999</c:v>
                </c:pt>
                <c:pt idx="22">
                  <c:v>1074236.973</c:v>
                </c:pt>
                <c:pt idx="23">
                  <c:v>277329.53539999988</c:v>
                </c:pt>
                <c:pt idx="24">
                  <c:v>819173.43059999985</c:v>
                </c:pt>
                <c:pt idx="25">
                  <c:v>2907579.775799999</c:v>
                </c:pt>
                <c:pt idx="26">
                  <c:v>183986.73240000001</c:v>
                </c:pt>
                <c:pt idx="27">
                  <c:v>224227.94260000001</c:v>
                </c:pt>
                <c:pt idx="28">
                  <c:v>1147947.4047999999</c:v>
                </c:pt>
                <c:pt idx="29">
                  <c:v>177245.5282</c:v>
                </c:pt>
                <c:pt idx="30">
                  <c:v>56817.089500000002</c:v>
                </c:pt>
                <c:pt idx="31">
                  <c:v>241292.2684</c:v>
                </c:pt>
                <c:pt idx="32">
                  <c:v>96136.576799999981</c:v>
                </c:pt>
                <c:pt idx="33">
                  <c:v>91396.574099999998</c:v>
                </c:pt>
                <c:pt idx="34">
                  <c:v>51837.379200000003</c:v>
                </c:pt>
                <c:pt idx="35">
                  <c:v>599204.35870000022</c:v>
                </c:pt>
                <c:pt idx="36">
                  <c:v>90111.249699999986</c:v>
                </c:pt>
                <c:pt idx="37">
                  <c:v>7381.9489999999987</c:v>
                </c:pt>
                <c:pt idx="38">
                  <c:v>1321744.1344000001</c:v>
                </c:pt>
                <c:pt idx="39">
                  <c:v>346446.61200000002</c:v>
                </c:pt>
                <c:pt idx="40">
                  <c:v>29997.0429</c:v>
                </c:pt>
                <c:pt idx="41">
                  <c:v>7339.8536999999997</c:v>
                </c:pt>
                <c:pt idx="42">
                  <c:v>43181.377599999993</c:v>
                </c:pt>
                <c:pt idx="43">
                  <c:v>23385.416400000009</c:v>
                </c:pt>
                <c:pt idx="44">
                  <c:v>69949.332200000004</c:v>
                </c:pt>
              </c:numCache>
            </c:numRef>
          </c:bubbleSize>
          <c:bubble3D val="0"/>
          <c:extLst>
            <c:ext xmlns:c15="http://schemas.microsoft.com/office/drawing/2012/chart" uri="{02D57815-91ED-43cb-92C2-25804820EDAC}">
              <c15:datalabelsRange>
                <c15:f>Sheet1!$E$2:$E$29</c15:f>
                <c15:dlblRangeCache>
                  <c:ptCount val="28"/>
                  <c:pt idx="0">
                    <c:v>Boursin Classique Fromage Frais A Tartiner Afh 1X160Gr 10P</c:v>
                  </c:pt>
                  <c:pt idx="1">
                    <c:v>La Vache Qui Rit Aro Fromage Fondu Boite Ronde Jambon 1X133Gr 8P</c:v>
                  </c:pt>
                  <c:pt idx="2">
                    <c:v>Boursin Classique Fromage Frais A Tartiner Afh Boite 1X320Gr 16+4P</c:v>
                  </c:pt>
                  <c:pt idx="3">
                    <c:v>Boursin Classique Fromage Frais A Tartiner Afh Boite 1X150Gr 1P</c:v>
                  </c:pt>
                  <c:pt idx="4">
                    <c:v>Boursin Classique Fromage Frais A Tartiner Truffe Boite 1X150Gr 1P</c:v>
                  </c:pt>
                  <c:pt idx="5">
                    <c:v>Boursin Classique Fromage Frais A Tartiner Figue Et 3 Noix Boite 1X150Gr 1P</c:v>
                  </c:pt>
                  <c:pt idx="6">
                    <c:v>Boursin Classique Fromage Frais A Tartiner Ciboulette &amp; Echalote Boite 1X150Gr 1P</c:v>
                  </c:pt>
                  <c:pt idx="7">
                    <c:v>Kiri Creme Fromage Blanc Frais Carre 1X432Gr 24P</c:v>
                  </c:pt>
                  <c:pt idx="8">
                    <c:v>Kiri Creme Fromage Blanc Frais Carre 1X216Gr 12P</c:v>
                  </c:pt>
                  <c:pt idx="9">
                    <c:v>La Vache Qui Rit Nature Fromage Fondu Boite Ronde 1X192Gr 12P</c:v>
                  </c:pt>
                  <c:pt idx="10">
                    <c:v>La Vache Qui Rit Nature Fromage Fondu Boite Ronde 1X256Gr 16P</c:v>
                  </c:pt>
                  <c:pt idx="11">
                    <c:v>La Vache Qui Rit Nature Fromage Fondu Boite Ronde 1X512Gr 24+8P</c:v>
                  </c:pt>
                  <c:pt idx="12">
                    <c:v>La Vache Qui Rit Nature Fromage Fondu Boite Ronde 1X384Gr 24P</c:v>
                  </c:pt>
                  <c:pt idx="13">
                    <c:v>La Vache Qui Rit Nature Fromage Fondu Boite Ronde 1X512Gr 32P</c:v>
                  </c:pt>
                  <c:pt idx="14">
                    <c:v>La Vache Qui Rit Allegee Fromage Fondu Boite Ronde Allege 1X267Gr 16P</c:v>
                  </c:pt>
                  <c:pt idx="15">
                    <c:v>La Vache Qui Rit Nature Fromage Fondu Boite Ronde 1X128Gr 8P</c:v>
                  </c:pt>
                  <c:pt idx="16">
                    <c:v>La Vache Qui Rit Pik Et Croq' Fromage Fondu Dips Boite 1X35Gr 1P</c:v>
                  </c:pt>
                  <c:pt idx="17">
                    <c:v>Kiri Delicieusement Fouette Fromage Frais A Tartiner 1X125Gr 1P</c:v>
                  </c:pt>
                  <c:pt idx="18">
                    <c:v>Kiri Delicieusement Fouette Fromage Frais A Tartiner 1X210Gr 1P</c:v>
                  </c:pt>
                  <c:pt idx="19">
                    <c:v>La Vache Qui Rit Bio Fromage Fondu Boite Ronde 1X128Gr 8P</c:v>
                  </c:pt>
                  <c:pt idx="20">
                    <c:v>Kiri Gouter Fromage Blanc Dips Boite 1X175Gr 5P</c:v>
                  </c:pt>
                  <c:pt idx="21">
                    <c:v>Kiri Gouter Fromage Blanc Dips Boite 1X280Gr 8P</c:v>
                  </c:pt>
                  <c:pt idx="22">
                    <c:v>La Vache Qui Rit Pik Et Croq' Fromage Fondu Dips Boite 1X175Gr 5P</c:v>
                  </c:pt>
                  <c:pt idx="23">
                    <c:v>La Vache Qui Rit Pik Et Croq' Fromage Fondu Dips Boite 1X280Gr 8P</c:v>
                  </c:pt>
                  <c:pt idx="24">
                    <c:v>Kiri Creme Fromage Blanc Frais Carre 1X432Gr 18+6P</c:v>
                  </c:pt>
                  <c:pt idx="25">
                    <c:v>Kiri Creme Fromage Blanc Frais Carre 1X144Gr 8P</c:v>
                  </c:pt>
                  <c:pt idx="26">
                    <c:v>Kiri Bio Fromage Blanc Frais Carre 1X144Gr 8P</c:v>
                  </c:pt>
                  <c:pt idx="27">
                    <c:v>Kiri Delicieusement Fouette Fromage Frais A Tartiner 1X160Gr 10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1.142440000000001"/>
          <c:min val="3.9776000000000007"/>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1531903172072856"/>
        <c:crossBetween val="midCat"/>
      </c:valAx>
      <c:valAx>
        <c:axId val="1011451359"/>
        <c:scaling>
          <c:orientation val="minMax"/>
          <c:max val="1.20204"/>
          <c:min val="-0.24880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7.585183558302681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7ECAC4"/>
              </a:solidFill>
            </c:spPr>
            <c:extLst>
              <c:ext xmlns:c16="http://schemas.microsoft.com/office/drawing/2014/chart" uri="{C3380CC4-5D6E-409C-BE32-E72D297353CC}">
                <c16:uniqueId val="{0000000C-7D2A-4F1E-BC80-EAAAE9B08A80}"/>
              </c:ext>
            </c:extLst>
          </c:dPt>
          <c:dPt>
            <c:idx val="6"/>
            <c:invertIfNegative val="0"/>
            <c:bubble3D val="0"/>
            <c:spPr>
              <a:solidFill>
                <a:srgbClr val="006C6D"/>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C0000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006C6D"/>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27C0-472A-889E-6D49A3C20752}"/>
              </c:ext>
            </c:extLst>
          </c:dPt>
          <c:dPt>
            <c:idx val="13"/>
            <c:invertIfNegative val="1"/>
            <c:bubble3D val="0"/>
            <c:spPr>
              <a:solidFill>
                <a:srgbClr val="C00000"/>
              </a:solidFill>
            </c:spPr>
            <c:extLst>
              <c:ext xmlns:c16="http://schemas.microsoft.com/office/drawing/2014/chart" uri="{C3380CC4-5D6E-409C-BE32-E72D297353CC}">
                <c16:uniqueId val="{0000001B-27C0-472A-889E-6D49A3C20752}"/>
              </c:ext>
            </c:extLst>
          </c:dPt>
          <c:dPt>
            <c:idx val="14"/>
            <c:invertIfNegative val="1"/>
            <c:bubble3D val="0"/>
            <c:spPr>
              <a:solidFill>
                <a:srgbClr val="006C6D"/>
              </a:solidFill>
            </c:spPr>
            <c:extLst>
              <c:ext xmlns:c16="http://schemas.microsoft.com/office/drawing/2014/chart" uri="{C3380CC4-5D6E-409C-BE32-E72D297353CC}">
                <c16:uniqueId val="{0000001D-27C0-472A-889E-6D49A3C20752}"/>
              </c:ext>
            </c:extLst>
          </c:dPt>
          <c:dPt>
            <c:idx val="15"/>
            <c:invertIfNegative val="1"/>
            <c:bubble3D val="0"/>
            <c:spPr>
              <a:solidFill>
                <a:srgbClr val="006C6D"/>
              </a:solidFill>
            </c:spPr>
            <c:extLst>
              <c:ext xmlns:c16="http://schemas.microsoft.com/office/drawing/2014/chart" uri="{C3380CC4-5D6E-409C-BE32-E72D297353CC}">
                <c16:uniqueId val="{0000001F-27C0-472A-889E-6D49A3C20752}"/>
              </c:ext>
            </c:extLst>
          </c:dPt>
          <c:dPt>
            <c:idx val="16"/>
            <c:invertIfNegative val="1"/>
            <c:bubble3D val="0"/>
            <c:spPr>
              <a:solidFill>
                <a:srgbClr val="006C6D"/>
              </a:solidFill>
            </c:spPr>
            <c:extLst>
              <c:ext xmlns:c16="http://schemas.microsoft.com/office/drawing/2014/chart" uri="{C3380CC4-5D6E-409C-BE32-E72D297353CC}">
                <c16:uniqueId val="{00000021-27C0-472A-889E-6D49A3C20752}"/>
              </c:ext>
            </c:extLst>
          </c:dPt>
          <c:dPt>
            <c:idx val="17"/>
            <c:invertIfNegative val="1"/>
            <c:bubble3D val="0"/>
            <c:spPr>
              <a:solidFill>
                <a:srgbClr val="C00000"/>
              </a:solidFill>
            </c:spPr>
            <c:extLst>
              <c:ext xmlns:c16="http://schemas.microsoft.com/office/drawing/2014/chart" uri="{C3380CC4-5D6E-409C-BE32-E72D297353CC}">
                <c16:uniqueId val="{00000023-27C0-472A-889E-6D49A3C20752}"/>
              </c:ext>
            </c:extLst>
          </c:dPt>
          <c:dPt>
            <c:idx val="18"/>
            <c:invertIfNegative val="1"/>
            <c:bubble3D val="0"/>
            <c:spPr>
              <a:solidFill>
                <a:srgbClr val="006C6D"/>
              </a:solidFill>
            </c:spPr>
            <c:extLst>
              <c:ext xmlns:c16="http://schemas.microsoft.com/office/drawing/2014/chart" uri="{C3380CC4-5D6E-409C-BE32-E72D297353CC}">
                <c16:uniqueId val="{00000025-27C0-472A-889E-6D49A3C20752}"/>
              </c:ext>
            </c:extLst>
          </c:dPt>
          <c:dPt>
            <c:idx val="19"/>
            <c:invertIfNegative val="1"/>
            <c:bubble3D val="0"/>
            <c:spPr>
              <a:solidFill>
                <a:srgbClr val="006C6D"/>
              </a:solidFill>
            </c:spPr>
            <c:extLst>
              <c:ext xmlns:c16="http://schemas.microsoft.com/office/drawing/2014/chart" uri="{C3380CC4-5D6E-409C-BE32-E72D297353CC}">
                <c16:uniqueId val="{00000027-27C0-472A-889E-6D49A3C20752}"/>
              </c:ext>
            </c:extLst>
          </c:dPt>
          <c:dLbls>
            <c:dLbl>
              <c:idx val="0"/>
              <c:tx>
                <c:rich>
                  <a:bodyPr/>
                  <a:lstStyle/>
                  <a:p>
                    <a:fld id="{0D8C4639-9766-442C-804A-43AC394A9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552D304-72E3-401E-ABE8-9B123A997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BDF361C-BF30-4979-B41B-2CAD6A908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27C9EA7-5E74-40A3-86C5-368374EC6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00FB2D7-E948-471F-B718-9A4CBD54D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69EAD21-7317-4FA4-ACFC-52B78E40E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6EBE7F8-D328-4769-B171-C6DA10FF5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10C3AEE-D3DB-4D56-A817-B1580709F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0BFCF7A1-38BB-4DC4-98A9-D0C6CA3A0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5E0DF68A-F474-4F76-AC30-313AA1135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02FDC7A2-0234-49DA-A1FD-395F7026A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6D3214BC-A3C1-47DC-A9AA-D64D3E754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004357AF-8780-4505-9279-6672041A1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27C0-472A-889E-6D49A3C20752}"/>
                </c:ext>
              </c:extLst>
            </c:dLbl>
            <c:dLbl>
              <c:idx val="13"/>
              <c:tx>
                <c:rich>
                  <a:bodyPr/>
                  <a:lstStyle/>
                  <a:p>
                    <a:fld id="{3233074E-744A-4FCB-80C2-E12ACD0B6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27C0-472A-889E-6D49A3C20752}"/>
                </c:ext>
              </c:extLst>
            </c:dLbl>
            <c:dLbl>
              <c:idx val="14"/>
              <c:tx>
                <c:rich>
                  <a:bodyPr/>
                  <a:lstStyle/>
                  <a:p>
                    <a:fld id="{E6FFB16D-DC11-4491-82F8-9C80E5F1A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27C0-472A-889E-6D49A3C20752}"/>
                </c:ext>
              </c:extLst>
            </c:dLbl>
            <c:dLbl>
              <c:idx val="15"/>
              <c:tx>
                <c:rich>
                  <a:bodyPr/>
                  <a:lstStyle/>
                  <a:p>
                    <a:fld id="{59CEE49F-AD0A-41E6-B531-417B49A3D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27C0-472A-889E-6D49A3C20752}"/>
                </c:ext>
              </c:extLst>
            </c:dLbl>
            <c:dLbl>
              <c:idx val="16"/>
              <c:tx>
                <c:rich>
                  <a:bodyPr/>
                  <a:lstStyle/>
                  <a:p>
                    <a:fld id="{71133A20-6BF3-490D-AD62-80521048B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27C0-472A-889E-6D49A3C20752}"/>
                </c:ext>
              </c:extLst>
            </c:dLbl>
            <c:dLbl>
              <c:idx val="17"/>
              <c:tx>
                <c:rich>
                  <a:bodyPr/>
                  <a:lstStyle/>
                  <a:p>
                    <a:fld id="{D2EF4B9B-D5DC-4053-895A-B8E1F9D41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27C0-472A-889E-6D49A3C20752}"/>
                </c:ext>
              </c:extLst>
            </c:dLbl>
            <c:dLbl>
              <c:idx val="18"/>
              <c:tx>
                <c:rich>
                  <a:bodyPr/>
                  <a:lstStyle/>
                  <a:p>
                    <a:fld id="{D17D9C46-83D6-4A4E-8002-F0F1D359C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27C0-472A-889E-6D49A3C20752}"/>
                </c:ext>
              </c:extLst>
            </c:dLbl>
            <c:dLbl>
              <c:idx val="19"/>
              <c:tx>
                <c:rich>
                  <a:bodyPr/>
                  <a:lstStyle/>
                  <a:p>
                    <a:fld id="{07D5C4C6-8CA6-4FF3-A0EC-A2C87A193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27C0-472A-889E-6D49A3C20752}"/>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1</c:f>
              <c:numCache>
                <c:formatCode>General</c:formatCode>
                <c:ptCount val="20"/>
                <c:pt idx="0">
                  <c:v>9.9535999999999998</c:v>
                </c:pt>
                <c:pt idx="1">
                  <c:v>7.6619999999999999</c:v>
                </c:pt>
                <c:pt idx="2">
                  <c:v>9.5295000000000005</c:v>
                </c:pt>
                <c:pt idx="3">
                  <c:v>8.5922000000000001</c:v>
                </c:pt>
                <c:pt idx="4">
                  <c:v>9.4281000000000006</c:v>
                </c:pt>
                <c:pt idx="5">
                  <c:v>8.8962000000000003</c:v>
                </c:pt>
                <c:pt idx="6">
                  <c:v>10.275</c:v>
                </c:pt>
                <c:pt idx="7">
                  <c:v>8.9215</c:v>
                </c:pt>
                <c:pt idx="8">
                  <c:v>9.8752999999999993</c:v>
                </c:pt>
                <c:pt idx="9">
                  <c:v>10.56</c:v>
                </c:pt>
                <c:pt idx="10">
                  <c:v>9.0784000000000002</c:v>
                </c:pt>
                <c:pt idx="11">
                  <c:v>10.6249</c:v>
                </c:pt>
                <c:pt idx="12">
                  <c:v>9.5538000000000007</c:v>
                </c:pt>
                <c:pt idx="13">
                  <c:v>8.7880000000000003</c:v>
                </c:pt>
                <c:pt idx="14">
                  <c:v>8.5708000000000002</c:v>
                </c:pt>
                <c:pt idx="15">
                  <c:v>9.9842999999999993</c:v>
                </c:pt>
                <c:pt idx="16">
                  <c:v>6.4592999999999998</c:v>
                </c:pt>
                <c:pt idx="17">
                  <c:v>6.8597000000000001</c:v>
                </c:pt>
                <c:pt idx="18">
                  <c:v>6.0998999999999999</c:v>
                </c:pt>
                <c:pt idx="19">
                  <c:v>7.7256</c:v>
                </c:pt>
              </c:numCache>
            </c:numRef>
          </c:xVal>
          <c:yVal>
            <c:numRef>
              <c:f>Sheet1!$B$2:$B$21</c:f>
              <c:numCache>
                <c:formatCode>General</c:formatCode>
                <c:ptCount val="20"/>
                <c:pt idx="0">
                  <c:v>0.33229999999999998</c:v>
                </c:pt>
                <c:pt idx="1">
                  <c:v>0.1164</c:v>
                </c:pt>
                <c:pt idx="2">
                  <c:v>0.37059999999999998</c:v>
                </c:pt>
                <c:pt idx="3">
                  <c:v>0.26329999999999998</c:v>
                </c:pt>
                <c:pt idx="4">
                  <c:v>0.34</c:v>
                </c:pt>
                <c:pt idx="5">
                  <c:v>0.3397</c:v>
                </c:pt>
                <c:pt idx="6">
                  <c:v>0.40160000000000001</c:v>
                </c:pt>
                <c:pt idx="7">
                  <c:v>0.3861</c:v>
                </c:pt>
                <c:pt idx="8">
                  <c:v>0.32579999999999998</c:v>
                </c:pt>
                <c:pt idx="9">
                  <c:v>0.39140000000000003</c:v>
                </c:pt>
                <c:pt idx="10">
                  <c:v>0.35070000000000001</c:v>
                </c:pt>
                <c:pt idx="11">
                  <c:v>0.36730000000000002</c:v>
                </c:pt>
                <c:pt idx="12">
                  <c:v>0.2873</c:v>
                </c:pt>
                <c:pt idx="13">
                  <c:v>0.24879999999999999</c:v>
                </c:pt>
                <c:pt idx="14">
                  <c:v>0.2989</c:v>
                </c:pt>
                <c:pt idx="15">
                  <c:v>0.34599999999999997</c:v>
                </c:pt>
                <c:pt idx="16">
                  <c:v>8.1500000000000003E-2</c:v>
                </c:pt>
                <c:pt idx="17">
                  <c:v>8.9099999999999999E-2</c:v>
                </c:pt>
                <c:pt idx="18">
                  <c:v>-1.0999999999999999E-2</c:v>
                </c:pt>
                <c:pt idx="19">
                  <c:v>7.9399999999999998E-2</c:v>
                </c:pt>
              </c:numCache>
            </c:numRef>
          </c:yVal>
          <c:bubbleSize>
            <c:numRef>
              <c:f>Sheet1!$C$2:$C$21</c:f>
              <c:numCache>
                <c:formatCode>General</c:formatCode>
                <c:ptCount val="20"/>
                <c:pt idx="0">
                  <c:v>2046825.7823000001</c:v>
                </c:pt>
                <c:pt idx="1">
                  <c:v>31644.144499999999</c:v>
                </c:pt>
                <c:pt idx="2">
                  <c:v>2119021.4544000002</c:v>
                </c:pt>
                <c:pt idx="3">
                  <c:v>28852.473999999998</c:v>
                </c:pt>
                <c:pt idx="4">
                  <c:v>270671.19300000003</c:v>
                </c:pt>
                <c:pt idx="5">
                  <c:v>427959.80719999998</c:v>
                </c:pt>
                <c:pt idx="6">
                  <c:v>394784.88339999988</c:v>
                </c:pt>
                <c:pt idx="7">
                  <c:v>270428.12439999997</c:v>
                </c:pt>
                <c:pt idx="8">
                  <c:v>224227.94260000001</c:v>
                </c:pt>
                <c:pt idx="9">
                  <c:v>91396.574099999998</c:v>
                </c:pt>
                <c:pt idx="10">
                  <c:v>51837.379200000003</c:v>
                </c:pt>
                <c:pt idx="11">
                  <c:v>599204.35870000022</c:v>
                </c:pt>
                <c:pt idx="12">
                  <c:v>90111.249699999986</c:v>
                </c:pt>
                <c:pt idx="13">
                  <c:v>7381.9489999999987</c:v>
                </c:pt>
                <c:pt idx="14">
                  <c:v>1321744.1344000001</c:v>
                </c:pt>
                <c:pt idx="15">
                  <c:v>346446.61200000002</c:v>
                </c:pt>
                <c:pt idx="16">
                  <c:v>29997.0429</c:v>
                </c:pt>
                <c:pt idx="17">
                  <c:v>7339.8536999999997</c:v>
                </c:pt>
                <c:pt idx="18">
                  <c:v>43181.377599999993</c:v>
                </c:pt>
                <c:pt idx="19">
                  <c:v>23385.416400000009</c:v>
                </c:pt>
              </c:numCache>
            </c:numRef>
          </c:bubbleSize>
          <c:bubble3D val="0"/>
          <c:extLst>
            <c:ext xmlns:c15="http://schemas.microsoft.com/office/drawing/2012/chart" uri="{02D57815-91ED-43cb-92C2-25804820EDAC}">
              <c15:datalabelsRange>
                <c15:f>Sheet1!$E$2:$E$29</c15:f>
                <c15:dlblRangeCache>
                  <c:ptCount val="28"/>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Truffe Boite 1X150Gr 1P</c:v>
                  </c:pt>
                  <c:pt idx="4">
                    <c:v>Boursin Classique Fromage Frais A Tartiner Figue Et 3 Noix Boite 1X150Gr 1P</c:v>
                  </c:pt>
                  <c:pt idx="5">
                    <c:v>Boursin Classique Fromage Frais A Tartiner Ciboulette &amp; Echalote Boite 1X150Gr 1P</c:v>
                  </c:pt>
                  <c:pt idx="6">
                    <c:v>Kiri Delicieusement Fouette Fromage Frais A Tartiner 1X125Gr 1P</c:v>
                  </c:pt>
                  <c:pt idx="7">
                    <c:v>Kiri Delicieusement Fouette Fromage Frais A Tartiner 1X210Gr 1P</c:v>
                  </c:pt>
                  <c:pt idx="8">
                    <c:v>Kiri Delicieusement Fouette Fromage Frais A Tartiner 1X160Gr 10P</c:v>
                  </c:pt>
                  <c:pt idx="9">
                    <c:v>Boursin Classique Fromage Frais A Tartiner Afh Boite 1X80Gr 1P</c:v>
                  </c:pt>
                  <c:pt idx="10">
                    <c:v>Boursin Classique Fromage Frais A Tartiner Poivre Boite 1X150Gr 1P</c:v>
                  </c:pt>
                  <c:pt idx="11">
                    <c:v>Boursin Classique Fromage Frais A Tartiner Afh Boite 1X96Gr 6P</c:v>
                  </c:pt>
                  <c:pt idx="12">
                    <c:v>Boursin Classique Fromage Frais A Tartiner Afh 1X256Gr 16P</c:v>
                  </c:pt>
                  <c:pt idx="13">
                    <c:v>Boursin Classique Fromage Frais A Tartiner Ciboulette &amp; Echalote 1X160Gr 10P</c:v>
                  </c:pt>
                  <c:pt idx="14">
                    <c:v>Boursin Classique Fromage Frais A Tartiner Afh Boite 1X250Gr 1P</c:v>
                  </c:pt>
                  <c:pt idx="15">
                    <c:v>Boursin Onctueux Fromage Frais A Tartiner Afh 1X125Gr 1P</c:v>
                  </c:pt>
                  <c:pt idx="16">
                    <c:v>Boursin Onctueux Fromage Frais A Tartiner Afh 1X210Gr 1P</c:v>
                  </c:pt>
                  <c:pt idx="17">
                    <c:v>Boursin Classique Fromage Frais A Tartiner Citron &amp; Romarin Boite 1X150Gr 1P</c:v>
                  </c:pt>
                  <c:pt idx="18">
                    <c:v>Boursin Classique Fromage Frais A Tartiner 3 Noix Boite 1X150Gr 1P</c:v>
                  </c:pt>
                  <c:pt idx="19">
                    <c:v>Boursin Classique Fromage Frais A Tartiner 3 Noix 1X160Gr 10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749879999999999"/>
          <c:min val="4.87992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4075510605670861"/>
        <c:crossBetween val="midCat"/>
      </c:valAx>
      <c:valAx>
        <c:axId val="1011451359"/>
        <c:scaling>
          <c:orientation val="minMax"/>
          <c:max val="0.84192"/>
          <c:min val="-0.24880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529879367652240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4F2D1BF-CCC5-469D-8B72-A4AF6483F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E153F63-E220-439D-80AC-B118A204F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F574508-9E85-4CC5-9AC7-4E36BAD03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CE990B34-6DAC-4108-B0F7-1A8DAA7AC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7E87DB99-BB3D-499B-A57A-E61ECFDFB0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0D8ED13D-7A65-4BEF-AD38-58EDC0EFD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FC44DB36-EAE2-4F50-B7DD-74DFC2895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882F416-3D3A-48C6-A99D-DFD30E023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262</c:v>
                </c:pt>
                <c:pt idx="1">
                  <c:v>21.464600000000001</c:v>
                </c:pt>
              </c:numCache>
            </c:numRef>
          </c:xVal>
          <c:yVal>
            <c:numRef>
              <c:f>Sheet1!$B$2:$B$3</c:f>
              <c:numCache>
                <c:formatCode>General</c:formatCode>
                <c:ptCount val="2"/>
                <c:pt idx="0">
                  <c:v>0.42530000000000001</c:v>
                </c:pt>
                <c:pt idx="1">
                  <c:v>0.35959999999999998</c:v>
                </c:pt>
              </c:numCache>
            </c:numRef>
          </c:yVal>
          <c:bubbleSize>
            <c:numRef>
              <c:f>Sheet1!$C$2:$C$3</c:f>
              <c:numCache>
                <c:formatCode>General</c:formatCode>
                <c:ptCount val="2"/>
                <c:pt idx="0">
                  <c:v>3432959.1820999999</c:v>
                </c:pt>
                <c:pt idx="1">
                  <c:v>639429.4393999998</c:v>
                </c:pt>
              </c:numCache>
            </c:numRef>
          </c:bubbleSize>
          <c:bubble3D val="0"/>
          <c:extLst>
            <c:ext xmlns:c15="http://schemas.microsoft.com/office/drawing/2012/chart" uri="{02D57815-91ED-43cb-92C2-25804820EDAC}">
              <c15:datalabelsRange>
                <c15:f>Sheet1!$E$2:$E$29</c15:f>
                <c15:dlblRangeCache>
                  <c:ptCount val="28"/>
                  <c:pt idx="0">
                    <c:v>Apericube</c:v>
                  </c:pt>
                  <c:pt idx="1">
                    <c:v>Boursi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5.75752"/>
          <c:min val="8.2096"/>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498406061573123"/>
        <c:crossBetween val="midCat"/>
      </c:valAx>
      <c:valAx>
        <c:axId val="1011451359"/>
        <c:scaling>
          <c:orientation val="minMax"/>
          <c:max val="0.87036000000000002"/>
          <c:min val="4.7679999999999993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209854268829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7ECAC4"/>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2EB5F00-2CBB-4776-B679-FC17EAB49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87F399F-B5EE-441E-A3FE-AA77D130C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EDAE28B-A01B-4AB2-B5B1-2C26DC2EF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7CA4F3C-472E-4FB1-AF09-E16A93B36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BBD2DD6-8CE6-43E1-B925-49844B711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5340840-187F-42DB-917F-A1C2218A4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F0EBF43-49DA-4381-8239-B40F37628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544ABC39-E327-4268-B96A-957C17BD0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1.127000000000001</c:v>
                </c:pt>
                <c:pt idx="1">
                  <c:v>9.0464000000000002</c:v>
                </c:pt>
                <c:pt idx="2">
                  <c:v>7.8868999999999998</c:v>
                </c:pt>
                <c:pt idx="3">
                  <c:v>9.5960000000000001</c:v>
                </c:pt>
                <c:pt idx="4">
                  <c:v>10.1904</c:v>
                </c:pt>
                <c:pt idx="5">
                  <c:v>10.465199999999999</c:v>
                </c:pt>
              </c:numCache>
            </c:numRef>
          </c:xVal>
          <c:yVal>
            <c:numRef>
              <c:f>Sheet1!$B$2:$B$7</c:f>
              <c:numCache>
                <c:formatCode>General</c:formatCode>
                <c:ptCount val="6"/>
                <c:pt idx="0">
                  <c:v>0.34379999999999999</c:v>
                </c:pt>
                <c:pt idx="1">
                  <c:v>0.15479999999999999</c:v>
                </c:pt>
                <c:pt idx="2">
                  <c:v>7.4200000000000002E-2</c:v>
                </c:pt>
                <c:pt idx="3">
                  <c:v>0.20549999999999999</c:v>
                </c:pt>
                <c:pt idx="4">
                  <c:v>0.25459999999999999</c:v>
                </c:pt>
                <c:pt idx="5">
                  <c:v>0.28749999999999998</c:v>
                </c:pt>
              </c:numCache>
            </c:numRef>
          </c:yVal>
          <c:bubbleSize>
            <c:numRef>
              <c:f>Sheet1!$C$2:$C$7</c:f>
              <c:numCache>
                <c:formatCode>General</c:formatCode>
                <c:ptCount val="6"/>
                <c:pt idx="0">
                  <c:v>1147947.4047999999</c:v>
                </c:pt>
                <c:pt idx="1">
                  <c:v>177245.5282</c:v>
                </c:pt>
                <c:pt idx="2">
                  <c:v>56817.089500000002</c:v>
                </c:pt>
                <c:pt idx="3">
                  <c:v>241292.2684</c:v>
                </c:pt>
                <c:pt idx="4">
                  <c:v>96136.576799999981</c:v>
                </c:pt>
                <c:pt idx="5">
                  <c:v>69949.332200000004</c:v>
                </c:pt>
              </c:numCache>
            </c:numRef>
          </c:bubbleSize>
          <c:bubble3D val="0"/>
          <c:extLst>
            <c:ext xmlns:c15="http://schemas.microsoft.com/office/drawing/2012/chart" uri="{02D57815-91ED-43cb-92C2-25804820EDAC}">
              <c15:datalabelsRange>
                <c15:f>Sheet1!$E$2:$E$29</c15:f>
                <c15:dlblRangeCache>
                  <c:ptCount val="28"/>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el Boursin Salade &amp; Aperitif Soft Cheese Salade 1 Ct X 120Gr</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352400000000001"/>
          <c:min val="6.30952"/>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29087602132537121"/>
        <c:crossBetween val="midCat"/>
      </c:valAx>
      <c:valAx>
        <c:axId val="1011451359"/>
        <c:scaling>
          <c:orientation val="minMax"/>
          <c:max val="0.77255999999999991"/>
          <c:min val="-0.1806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53538855061061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C0000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006C6D"/>
              </a:solidFill>
            </c:spPr>
            <c:extLst>
              <c:ext xmlns:c16="http://schemas.microsoft.com/office/drawing/2014/chart" uri="{C3380CC4-5D6E-409C-BE32-E72D297353CC}">
                <c16:uniqueId val="{0000000D-7D2A-4F1E-BC80-EAAAE9B08A80}"/>
              </c:ext>
            </c:extLst>
          </c:dPt>
          <c:dPt>
            <c:idx val="8"/>
            <c:invertIfNegative val="1"/>
            <c:bubble3D val="0"/>
            <c:spPr>
              <a:solidFill>
                <a:srgbClr val="FF8080"/>
              </a:solidFill>
            </c:spPr>
            <c:extLst>
              <c:ext xmlns:c16="http://schemas.microsoft.com/office/drawing/2014/chart" uri="{C3380CC4-5D6E-409C-BE32-E72D297353CC}">
                <c16:uniqueId val="{00000011-78D1-41D4-ABFA-320BD44357BD}"/>
              </c:ext>
            </c:extLst>
          </c:dPt>
          <c:dPt>
            <c:idx val="9"/>
            <c:invertIfNegative val="1"/>
            <c:bubble3D val="0"/>
            <c:spPr>
              <a:solidFill>
                <a:srgbClr val="006C6D"/>
              </a:solidFill>
            </c:spPr>
            <c:extLst>
              <c:ext xmlns:c16="http://schemas.microsoft.com/office/drawing/2014/chart" uri="{C3380CC4-5D6E-409C-BE32-E72D297353CC}">
                <c16:uniqueId val="{00000013-78D1-41D4-ABFA-320BD44357BD}"/>
              </c:ext>
            </c:extLst>
          </c:dPt>
          <c:dPt>
            <c:idx val="10"/>
            <c:invertIfNegative val="1"/>
            <c:bubble3D val="0"/>
            <c:spPr>
              <a:solidFill>
                <a:srgbClr val="006C6D"/>
              </a:solidFill>
            </c:spPr>
            <c:extLst>
              <c:ext xmlns:c16="http://schemas.microsoft.com/office/drawing/2014/chart" uri="{C3380CC4-5D6E-409C-BE32-E72D297353CC}">
                <c16:uniqueId val="{00000015-78D1-41D4-ABFA-320BD44357BD}"/>
              </c:ext>
            </c:extLst>
          </c:dPt>
          <c:dPt>
            <c:idx val="11"/>
            <c:invertIfNegative val="1"/>
            <c:bubble3D val="0"/>
            <c:spPr>
              <a:solidFill>
                <a:srgbClr val="FF8080"/>
              </a:solidFill>
            </c:spPr>
            <c:extLst>
              <c:ext xmlns:c16="http://schemas.microsoft.com/office/drawing/2014/chart" uri="{C3380CC4-5D6E-409C-BE32-E72D297353CC}">
                <c16:uniqueId val="{00000017-78D1-41D4-ABFA-320BD44357BD}"/>
              </c:ext>
            </c:extLst>
          </c:dPt>
          <c:dPt>
            <c:idx val="12"/>
            <c:invertIfNegative val="1"/>
            <c:bubble3D val="0"/>
            <c:spPr>
              <a:solidFill>
                <a:srgbClr val="006C6D"/>
              </a:solidFill>
            </c:spPr>
            <c:extLst>
              <c:ext xmlns:c16="http://schemas.microsoft.com/office/drawing/2014/chart" uri="{C3380CC4-5D6E-409C-BE32-E72D297353CC}">
                <c16:uniqueId val="{00000019-DCFF-4033-85A1-CAFED7C6D9FC}"/>
              </c:ext>
            </c:extLst>
          </c:dPt>
          <c:dPt>
            <c:idx val="13"/>
            <c:invertIfNegative val="1"/>
            <c:bubble3D val="0"/>
            <c:spPr>
              <a:solidFill>
                <a:srgbClr val="006C6D"/>
              </a:solidFill>
            </c:spPr>
            <c:extLst>
              <c:ext xmlns:c16="http://schemas.microsoft.com/office/drawing/2014/chart" uri="{C3380CC4-5D6E-409C-BE32-E72D297353CC}">
                <c16:uniqueId val="{0000001B-DCFF-4033-85A1-CAFED7C6D9FC}"/>
              </c:ext>
            </c:extLst>
          </c:dPt>
          <c:dPt>
            <c:idx val="14"/>
            <c:invertIfNegative val="1"/>
            <c:bubble3D val="0"/>
            <c:spPr>
              <a:solidFill>
                <a:srgbClr val="006C6D"/>
              </a:solidFill>
            </c:spPr>
            <c:extLst>
              <c:ext xmlns:c16="http://schemas.microsoft.com/office/drawing/2014/chart" uri="{C3380CC4-5D6E-409C-BE32-E72D297353CC}">
                <c16:uniqueId val="{0000001D-DCFF-4033-85A1-CAFED7C6D9FC}"/>
              </c:ext>
            </c:extLst>
          </c:dPt>
          <c:dLbls>
            <c:dLbl>
              <c:idx val="0"/>
              <c:tx>
                <c:rich>
                  <a:bodyPr/>
                  <a:lstStyle/>
                  <a:p>
                    <a:fld id="{021CE2AA-C7D5-49ED-BB90-BA6738E6E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86DF38B-BD0D-47AF-BFE6-969D5EF1A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671EB58-DA05-460B-9359-72D85117D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12512B2-8942-4074-8E41-2251AE439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D9D5E6D-7E43-40A5-A802-D5CA7038B9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6F399EA-6CAB-4873-A8B1-9F5A86470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F393DE3-37D0-40BC-A6AC-61D6B6953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280BB9F-61B3-46A1-ADB5-B91F8F488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dLbl>
              <c:idx val="8"/>
              <c:tx>
                <c:rich>
                  <a:bodyPr/>
                  <a:lstStyle/>
                  <a:p>
                    <a:fld id="{2495D027-C54A-4E2C-86FF-ED2C76036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78D1-41D4-ABFA-320BD44357BD}"/>
                </c:ext>
              </c:extLst>
            </c:dLbl>
            <c:dLbl>
              <c:idx val="9"/>
              <c:tx>
                <c:rich>
                  <a:bodyPr/>
                  <a:lstStyle/>
                  <a:p>
                    <a:fld id="{0AE31495-9911-44B2-94AA-A1EB7DA56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8D1-41D4-ABFA-320BD44357BD}"/>
                </c:ext>
              </c:extLst>
            </c:dLbl>
            <c:dLbl>
              <c:idx val="10"/>
              <c:tx>
                <c:rich>
                  <a:bodyPr/>
                  <a:lstStyle/>
                  <a:p>
                    <a:fld id="{AE0BCA40-B7B3-447F-B98A-4BBC81176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78D1-41D4-ABFA-320BD44357BD}"/>
                </c:ext>
              </c:extLst>
            </c:dLbl>
            <c:dLbl>
              <c:idx val="11"/>
              <c:tx>
                <c:rich>
                  <a:bodyPr/>
                  <a:lstStyle/>
                  <a:p>
                    <a:fld id="{76E14C84-29DE-471C-866E-1DA758088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78D1-41D4-ABFA-320BD44357BD}"/>
                </c:ext>
              </c:extLst>
            </c:dLbl>
            <c:dLbl>
              <c:idx val="12"/>
              <c:tx>
                <c:rich>
                  <a:bodyPr/>
                  <a:lstStyle/>
                  <a:p>
                    <a:fld id="{F2AF7F2D-FF5E-401C-8795-4183514DF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DCFF-4033-85A1-CAFED7C6D9FC}"/>
                </c:ext>
              </c:extLst>
            </c:dLbl>
            <c:dLbl>
              <c:idx val="13"/>
              <c:tx>
                <c:rich>
                  <a:bodyPr/>
                  <a:lstStyle/>
                  <a:p>
                    <a:fld id="{1B68D4AC-6864-4E79-9ED8-8B75AC0CA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DCFF-4033-85A1-CAFED7C6D9FC}"/>
                </c:ext>
              </c:extLst>
            </c:dLbl>
            <c:dLbl>
              <c:idx val="14"/>
              <c:tx>
                <c:rich>
                  <a:bodyPr/>
                  <a:lstStyle/>
                  <a:p>
                    <a:fld id="{D184A2DD-1B72-41BB-9D77-D86852AF6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DCFF-4033-85A1-CAFED7C6D9FC}"/>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6</c:f>
              <c:numCache>
                <c:formatCode>General</c:formatCode>
                <c:ptCount val="15"/>
                <c:pt idx="0">
                  <c:v>9.2596000000000007</c:v>
                </c:pt>
                <c:pt idx="1">
                  <c:v>8.8203999999999994</c:v>
                </c:pt>
                <c:pt idx="2">
                  <c:v>6.0709999999999997</c:v>
                </c:pt>
                <c:pt idx="3">
                  <c:v>8.8940999999999999</c:v>
                </c:pt>
                <c:pt idx="4">
                  <c:v>8.4114000000000004</c:v>
                </c:pt>
                <c:pt idx="5">
                  <c:v>9.8241999999999994</c:v>
                </c:pt>
                <c:pt idx="6">
                  <c:v>7.8284000000000002</c:v>
                </c:pt>
                <c:pt idx="7">
                  <c:v>8.5388000000000002</c:v>
                </c:pt>
                <c:pt idx="8">
                  <c:v>10.1027</c:v>
                </c:pt>
                <c:pt idx="9">
                  <c:v>8.7674000000000003</c:v>
                </c:pt>
                <c:pt idx="10">
                  <c:v>10.3247</c:v>
                </c:pt>
                <c:pt idx="11">
                  <c:v>7.5269000000000004</c:v>
                </c:pt>
                <c:pt idx="12">
                  <c:v>8.9146999999999998</c:v>
                </c:pt>
                <c:pt idx="13">
                  <c:v>7.7407000000000004</c:v>
                </c:pt>
                <c:pt idx="14">
                  <c:v>8.7566000000000006</c:v>
                </c:pt>
              </c:numCache>
            </c:numRef>
          </c:xVal>
          <c:yVal>
            <c:numRef>
              <c:f>Sheet1!$B$2:$B$16</c:f>
              <c:numCache>
                <c:formatCode>General</c:formatCode>
                <c:ptCount val="15"/>
                <c:pt idx="0">
                  <c:v>0.28370000000000001</c:v>
                </c:pt>
                <c:pt idx="1">
                  <c:v>0.3201</c:v>
                </c:pt>
                <c:pt idx="2">
                  <c:v>-2.98E-2</c:v>
                </c:pt>
                <c:pt idx="3">
                  <c:v>0.30370000000000003</c:v>
                </c:pt>
                <c:pt idx="4">
                  <c:v>0.30099999999999999</c:v>
                </c:pt>
                <c:pt idx="5">
                  <c:v>0.3745</c:v>
                </c:pt>
                <c:pt idx="6">
                  <c:v>0.26479999999999998</c:v>
                </c:pt>
                <c:pt idx="7">
                  <c:v>0.23860000000000001</c:v>
                </c:pt>
                <c:pt idx="8">
                  <c:v>0.36820000000000003</c:v>
                </c:pt>
                <c:pt idx="9">
                  <c:v>0.34860000000000002</c:v>
                </c:pt>
                <c:pt idx="10">
                  <c:v>0.35220000000000001</c:v>
                </c:pt>
                <c:pt idx="11">
                  <c:v>0.1007</c:v>
                </c:pt>
                <c:pt idx="12">
                  <c:v>0.25869999999999999</c:v>
                </c:pt>
                <c:pt idx="13">
                  <c:v>0.22420000000000001</c:v>
                </c:pt>
                <c:pt idx="14">
                  <c:v>0.2535</c:v>
                </c:pt>
              </c:numCache>
            </c:numRef>
          </c:yVal>
          <c:bubbleSize>
            <c:numRef>
              <c:f>Sheet1!$C$2:$C$16</c:f>
              <c:numCache>
                <c:formatCode>General</c:formatCode>
                <c:ptCount val="15"/>
                <c:pt idx="0">
                  <c:v>1645429.3156999999</c:v>
                </c:pt>
                <c:pt idx="1">
                  <c:v>1483245.8407999999</c:v>
                </c:pt>
                <c:pt idx="2">
                  <c:v>19536.5635</c:v>
                </c:pt>
                <c:pt idx="3">
                  <c:v>568393.2801999998</c:v>
                </c:pt>
                <c:pt idx="4">
                  <c:v>455014.01169999997</c:v>
                </c:pt>
                <c:pt idx="5">
                  <c:v>264142.96620000002</c:v>
                </c:pt>
                <c:pt idx="6">
                  <c:v>8501.64</c:v>
                </c:pt>
                <c:pt idx="7">
                  <c:v>146209.82399999999</c:v>
                </c:pt>
                <c:pt idx="8">
                  <c:v>50382.185699999987</c:v>
                </c:pt>
                <c:pt idx="9">
                  <c:v>392341.30039999989</c:v>
                </c:pt>
                <c:pt idx="10">
                  <c:v>608075.93240000005</c:v>
                </c:pt>
                <c:pt idx="11">
                  <c:v>423307.45439999999</c:v>
                </c:pt>
                <c:pt idx="12">
                  <c:v>250921.9325</c:v>
                </c:pt>
                <c:pt idx="13">
                  <c:v>1620710.9251999999</c:v>
                </c:pt>
                <c:pt idx="14">
                  <c:v>575246.19469999999</c:v>
                </c:pt>
              </c:numCache>
            </c:numRef>
          </c:bubbleSize>
          <c:bubble3D val="0"/>
          <c:extLst>
            <c:ext xmlns:c15="http://schemas.microsoft.com/office/drawing/2012/chart" uri="{02D57815-91ED-43cb-92C2-25804820EDAC}">
              <c15:datalabelsRange>
                <c15:f>Sheet1!$E$2:$E$29</c15:f>
                <c15:dlblRangeCache>
                  <c:ptCount val="28"/>
                  <c:pt idx="0">
                    <c:v>Boursin Classique Fromage Frais A Tartiner Afh 1X160Gr 10P</c:v>
                  </c:pt>
                  <c:pt idx="1">
                    <c:v>Boursin Classique Fromage Frais A Tartiner Afh Boite 1X150Gr 1P</c:v>
                  </c:pt>
                  <c:pt idx="2">
                    <c:v>Boursin Classique Fromage Frais A Tartiner Truffe Boite 1X150Gr 1P</c:v>
                  </c:pt>
                  <c:pt idx="3">
                    <c:v>Boursin Classique Fromage Frais A Tartiner Figue Et 3 Noix Boite 1X150Gr 1P</c:v>
                  </c:pt>
                  <c:pt idx="4">
                    <c:v>Boursin Classique Fromage Frais A Tartiner Ciboulette &amp; Echalote Boite 1X150Gr 1P</c:v>
                  </c:pt>
                  <c:pt idx="5">
                    <c:v>Kiri Delicieusement Fouette Fromage Frais A Tartiner 1X125Gr 1P</c:v>
                  </c:pt>
                  <c:pt idx="6">
                    <c:v>Kiri Delicieusement Fouette Fromage Frais A Tartiner 1X210Gr 1P</c:v>
                  </c:pt>
                  <c:pt idx="7">
                    <c:v>Kiri Delicieusement Fouette Fromage Frais A Tartiner 1X160Gr 10P</c:v>
                  </c:pt>
                  <c:pt idx="8">
                    <c:v>Boursin Classique Fromage Frais A Tartiner Afh Boite 1X80Gr 1P</c:v>
                  </c:pt>
                  <c:pt idx="9">
                    <c:v>Boursin Classique Fromage Frais A Tartiner Poivre Boite 1X150Gr 1P</c:v>
                  </c:pt>
                  <c:pt idx="10">
                    <c:v>Boursin Classique Fromage Frais A Tartiner Afh Boite 1X96Gr 6P</c:v>
                  </c:pt>
                  <c:pt idx="11">
                    <c:v>Boursin Classique Fromage Frais A Tartiner Afh 1X256Gr 16P</c:v>
                  </c:pt>
                  <c:pt idx="12">
                    <c:v>Boursin Classique Fromage Frais A Tartiner Ciboulette &amp; Echalote 1X160Gr 10P</c:v>
                  </c:pt>
                  <c:pt idx="13">
                    <c:v>Boursin Classique Fromage Frais A Tartiner Afh Boite 1X250Gr 1P</c:v>
                  </c:pt>
                  <c:pt idx="14">
                    <c:v>Boursin Onctueux Fromage Frais A Tartiner Afh 1X125Gr 1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38964"/>
          <c:min val="4.856799999999999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27878484760281835"/>
        <c:crossBetween val="midCat"/>
      </c:valAx>
      <c:valAx>
        <c:axId val="1011451359"/>
        <c:scaling>
          <c:orientation val="minMax"/>
          <c:max val="0.80940000000000001"/>
          <c:min val="-0.263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748539237938885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C00000"/>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CD9CFA8-8656-4E6A-A17B-5D1F4A422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7A6B23C-B340-4444-847D-CFBE7A6E7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3F0A72C-97A4-4DBF-9E9E-3A7873942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49E4DD4-AC71-498C-B34F-4B9D56633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B94B649-D047-4418-84CB-C24DBBB1A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627D061-1000-49AE-85CC-383619AE1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C8FEA00-6D8A-4994-B150-751350CB3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85C3D20-F076-46FF-BCE6-7A1ED8925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822</c:v>
                </c:pt>
                <c:pt idx="1">
                  <c:v>11.0299</c:v>
                </c:pt>
                <c:pt idx="2">
                  <c:v>11.2186</c:v>
                </c:pt>
                <c:pt idx="3">
                  <c:v>10.653499999999999</c:v>
                </c:pt>
                <c:pt idx="4">
                  <c:v>9.4532000000000007</c:v>
                </c:pt>
                <c:pt idx="5">
                  <c:v>10.2592</c:v>
                </c:pt>
              </c:numCache>
            </c:numRef>
          </c:xVal>
          <c:yVal>
            <c:numRef>
              <c:f>Sheet1!$B$2:$B$7</c:f>
              <c:numCache>
                <c:formatCode>General</c:formatCode>
                <c:ptCount val="6"/>
                <c:pt idx="0">
                  <c:v>0.31180000000000002</c:v>
                </c:pt>
                <c:pt idx="1">
                  <c:v>0.30990000000000001</c:v>
                </c:pt>
                <c:pt idx="2">
                  <c:v>0.35339999999999999</c:v>
                </c:pt>
                <c:pt idx="3">
                  <c:v>0.27829999999999999</c:v>
                </c:pt>
                <c:pt idx="4">
                  <c:v>0.1988</c:v>
                </c:pt>
                <c:pt idx="5">
                  <c:v>0.26779999999999998</c:v>
                </c:pt>
              </c:numCache>
            </c:numRef>
          </c:yVal>
          <c:bubbleSize>
            <c:numRef>
              <c:f>Sheet1!$C$2:$C$7</c:f>
              <c:numCache>
                <c:formatCode>General</c:formatCode>
                <c:ptCount val="6"/>
                <c:pt idx="0">
                  <c:v>586213.45920000004</c:v>
                </c:pt>
                <c:pt idx="1">
                  <c:v>108247.5664</c:v>
                </c:pt>
                <c:pt idx="2">
                  <c:v>53176.012199999997</c:v>
                </c:pt>
                <c:pt idx="3">
                  <c:v>150811.14780000001</c:v>
                </c:pt>
                <c:pt idx="4">
                  <c:v>51813.046099999992</c:v>
                </c:pt>
                <c:pt idx="5">
                  <c:v>22765.070899999999</c:v>
                </c:pt>
              </c:numCache>
            </c:numRef>
          </c:bubbleSize>
          <c:bubble3D val="0"/>
          <c:extLst>
            <c:ext xmlns:c15="http://schemas.microsoft.com/office/drawing/2012/chart" uri="{02D57815-91ED-43cb-92C2-25804820EDAC}">
              <c15:datalabelsRange>
                <c15:f>Sheet1!$E$2:$E$29</c15:f>
                <c15:dlblRangeCache>
                  <c:ptCount val="28"/>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el Boursin Salade &amp; Aperitif Soft Cheese Salade 1 Ct X 120Gr</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46232"/>
          <c:min val="7.562560000000001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0162323599847146"/>
        <c:crossBetween val="midCat"/>
      </c:valAx>
      <c:valAx>
        <c:axId val="1011451359"/>
        <c:scaling>
          <c:orientation val="minMax"/>
          <c:max val="0.78408"/>
          <c:min val="-8.09599999999999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0.6101606393570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Soft Cheese</c:v>
                </c:pt>
                <c:pt idx="1">
                  <c:v>Aperitif</c:v>
                </c:pt>
                <c:pt idx="2">
                  <c:v>Alternative Vegetale</c:v>
                </c:pt>
              </c:strCache>
            </c:strRef>
          </c:cat>
          <c:val>
            <c:numRef>
              <c:f>Sheet1!$B$2:$B$5</c:f>
              <c:numCache>
                <c:formatCode>General</c:formatCode>
                <c:ptCount val="4"/>
                <c:pt idx="0">
                  <c:v>-1.162633700772997E-2</c:v>
                </c:pt>
                <c:pt idx="1">
                  <c:v>2.1762358824485684E-2</c:v>
                </c:pt>
                <c:pt idx="2">
                  <c:v>-1.3135125441872675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Soft Cheese</c:v>
                </c:pt>
                <c:pt idx="1">
                  <c:v>Aperitif</c:v>
                </c:pt>
                <c:pt idx="2">
                  <c:v>Alternative Vegetale</c:v>
                </c:pt>
              </c:strCache>
            </c:strRef>
          </c:cat>
          <c:val>
            <c:numRef>
              <c:f>Sheet1!$B$2:$B$5</c:f>
              <c:numCache>
                <c:formatCode>General</c:formatCode>
                <c:ptCount val="4"/>
                <c:pt idx="0">
                  <c:v>0.37159999999999999</c:v>
                </c:pt>
                <c:pt idx="1">
                  <c:v>0.38</c:v>
                </c:pt>
                <c:pt idx="2">
                  <c:v>0.433</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Soft Cheese</c:v>
                </c:pt>
                <c:pt idx="1">
                  <c:v>Aperitif</c:v>
                </c:pt>
                <c:pt idx="2">
                  <c:v>Alternative Vegetale</c:v>
                </c:pt>
              </c:strCache>
            </c:strRef>
          </c:cat>
          <c:val>
            <c:numRef>
              <c:f>Sheet1!$B$2:$B$5</c:f>
              <c:numCache>
                <c:formatCode>General</c:formatCode>
                <c:ptCount val="4"/>
                <c:pt idx="0">
                  <c:v>75</c:v>
                </c:pt>
                <c:pt idx="1">
                  <c:v>28</c:v>
                </c:pt>
                <c:pt idx="2">
                  <c:v>1</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5</c:f>
              <c:strCache>
                <c:ptCount val="4"/>
                <c:pt idx="0">
                  <c:v>Soft Cheese</c:v>
                </c:pt>
                <c:pt idx="1">
                  <c:v>Aperitif</c:v>
                </c:pt>
                <c:pt idx="2">
                  <c:v>Alternative Vegetale</c:v>
                </c:pt>
              </c:strCache>
            </c:strRef>
          </c:cat>
          <c:val>
            <c:numRef>
              <c:f>Sheet1!$B$2:$B$5</c:f>
              <c:numCache>
                <c:formatCode>General</c:formatCode>
                <c:ptCount val="4"/>
                <c:pt idx="0">
                  <c:v>-2.3316210817393879E-2</c:v>
                </c:pt>
                <c:pt idx="1">
                  <c:v>-1.5195965733625916E-3</c:v>
                </c:pt>
                <c:pt idx="2">
                  <c:v>1.3445497296581677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Soft Cheese</c:v>
                </c:pt>
                <c:pt idx="1">
                  <c:v>Aperitif</c:v>
                </c:pt>
                <c:pt idx="2">
                  <c:v>Alternative Vegetale</c:v>
                </c:pt>
              </c:strCache>
            </c:strRef>
          </c:cat>
          <c:val>
            <c:numRef>
              <c:f>Sheet1!$B$2:$B$5</c:f>
              <c:numCache>
                <c:formatCode>General</c:formatCode>
                <c:ptCount val="4"/>
                <c:pt idx="0">
                  <c:v>0.34739999999999999</c:v>
                </c:pt>
                <c:pt idx="1">
                  <c:v>0.40720000000000001</c:v>
                </c:pt>
                <c:pt idx="2">
                  <c:v>0.44900000000000001</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Soft Cheese</c:v>
                </c:pt>
                <c:pt idx="1">
                  <c:v>Aperitif</c:v>
                </c:pt>
                <c:pt idx="2">
                  <c:v>Alternative Vegetale</c:v>
                </c:pt>
              </c:strCache>
            </c:strRef>
          </c:cat>
          <c:val>
            <c:numRef>
              <c:f>Sheet1!$B$2:$B$5</c:f>
              <c:numCache>
                <c:formatCode>General</c:formatCode>
                <c:ptCount val="4"/>
                <c:pt idx="0">
                  <c:v>91</c:v>
                </c:pt>
                <c:pt idx="1">
                  <c:v>27</c:v>
                </c:pt>
                <c:pt idx="2">
                  <c:v>1</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rais A Tartiner</c:v>
                </c:pt>
                <c:pt idx="1">
                  <c:v>Aperitif</c:v>
                </c:pt>
                <c:pt idx="2">
                  <c:v>Enfant</c:v>
                </c:pt>
                <c:pt idx="3">
                  <c:v>Alternative Vegetale</c:v>
                </c:pt>
                <c:pt idx="4">
                  <c:v>Salade</c:v>
                </c:pt>
              </c:strCache>
            </c:strRef>
          </c:cat>
          <c:val>
            <c:numRef>
              <c:f>Sheet1!$B$2:$B$7</c:f>
              <c:numCache>
                <c:formatCode>General</c:formatCode>
                <c:ptCount val="6"/>
                <c:pt idx="0">
                  <c:v>-3.1683593434607138E-3</c:v>
                </c:pt>
                <c:pt idx="1">
                  <c:v>2.1762358824485684E-2</c:v>
                </c:pt>
                <c:pt idx="2">
                  <c:v>-1.4345107645787891E-2</c:v>
                </c:pt>
                <c:pt idx="3">
                  <c:v>-1.3135125441872675E-2</c:v>
                </c:pt>
                <c:pt idx="4">
                  <c:v>6.8675987814685313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57214ED-C3D0-4F0E-B800-049FDB994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7D9BC11-8403-4D4D-84C3-E1583F8E18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F75A893-F9CA-4805-AE32-F266B3C79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DE34A9E-5EBA-4F55-BCA7-CBB0ED0C84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90CA2FFB-D0D3-457B-89A0-88543B22C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E6E7C90C-F1C0-4AD6-82ED-3696ABE1A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9048EB43-882F-46F6-8E4A-F69D4A1FE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36C0F0A-BC66-4F69-B508-995EF62D0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0.5174</c:v>
                </c:pt>
                <c:pt idx="1">
                  <c:v>6.3836000000000004</c:v>
                </c:pt>
                <c:pt idx="2">
                  <c:v>7.5945999999999998</c:v>
                </c:pt>
              </c:numCache>
            </c:numRef>
          </c:xVal>
          <c:yVal>
            <c:numRef>
              <c:f>Sheet1!$B$2:$B$4</c:f>
              <c:numCache>
                <c:formatCode>General</c:formatCode>
                <c:ptCount val="3"/>
                <c:pt idx="0">
                  <c:v>0.38519999999999999</c:v>
                </c:pt>
                <c:pt idx="1">
                  <c:v>0.30730000000000002</c:v>
                </c:pt>
                <c:pt idx="2">
                  <c:v>0.35770000000000002</c:v>
                </c:pt>
              </c:numCache>
            </c:numRef>
          </c:yVal>
          <c:bubbleSize>
            <c:numRef>
              <c:f>Sheet1!$C$2:$C$4</c:f>
              <c:numCache>
                <c:formatCode>General</c:formatCode>
                <c:ptCount val="3"/>
                <c:pt idx="0">
                  <c:v>4167191.6750000012</c:v>
                </c:pt>
                <c:pt idx="1">
                  <c:v>4211708.1518999981</c:v>
                </c:pt>
                <c:pt idx="2">
                  <c:v>3407967.3783999989</c:v>
                </c:pt>
              </c:numCache>
            </c:numRef>
          </c:bubbleSize>
          <c:bubble3D val="0"/>
          <c:extLst>
            <c:ext xmlns:c15="http://schemas.microsoft.com/office/drawing/2012/chart" uri="{02D57815-91ED-43cb-92C2-25804820EDAC}">
              <c15:datalabelsRange>
                <c15:f>Sheet1!$E$2:$E$29</c15:f>
                <c15:dlblRangeCache>
                  <c:ptCount val="28"/>
                  <c:pt idx="0">
                    <c:v>Mini Babybel</c:v>
                  </c:pt>
                  <c:pt idx="1">
                    <c:v>La Vache Qui Rit</c:v>
                  </c:pt>
                  <c:pt idx="2">
                    <c:v>Kiri</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62088"/>
          <c:min val="5.10688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4941346227186298"/>
        <c:crossBetween val="midCat"/>
      </c:valAx>
      <c:valAx>
        <c:axId val="1011451359"/>
        <c:scaling>
          <c:orientation val="minMax"/>
          <c:max val="0.82223999999999997"/>
          <c:min val="5.8400000000000231E-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195225181605151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rais A Tartiner</c:v>
                </c:pt>
                <c:pt idx="1">
                  <c:v>Aperitif</c:v>
                </c:pt>
                <c:pt idx="2">
                  <c:v>Enfant</c:v>
                </c:pt>
                <c:pt idx="3">
                  <c:v>Alternative Vegetale</c:v>
                </c:pt>
                <c:pt idx="4">
                  <c:v>Salade</c:v>
                </c:pt>
              </c:strCache>
            </c:strRef>
          </c:cat>
          <c:val>
            <c:numRef>
              <c:f>Sheet1!$B$2:$B$7</c:f>
              <c:numCache>
                <c:formatCode>General</c:formatCode>
                <c:ptCount val="6"/>
                <c:pt idx="0">
                  <c:v>0.39369999999999999</c:v>
                </c:pt>
                <c:pt idx="1">
                  <c:v>0.38</c:v>
                </c:pt>
                <c:pt idx="2">
                  <c:v>0.36420000000000002</c:v>
                </c:pt>
                <c:pt idx="3">
                  <c:v>0.433</c:v>
                </c:pt>
                <c:pt idx="4">
                  <c:v>0.4279</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rais A Tartiner</c:v>
                </c:pt>
                <c:pt idx="1">
                  <c:v>Aperitif</c:v>
                </c:pt>
                <c:pt idx="2">
                  <c:v>Enfant</c:v>
                </c:pt>
                <c:pt idx="3">
                  <c:v>Alternative Vegetale</c:v>
                </c:pt>
                <c:pt idx="4">
                  <c:v>Salade</c:v>
                </c:pt>
              </c:strCache>
            </c:strRef>
          </c:cat>
          <c:val>
            <c:numRef>
              <c:f>Sheet1!$B$2:$B$7</c:f>
              <c:numCache>
                <c:formatCode>General</c:formatCode>
                <c:ptCount val="6"/>
                <c:pt idx="0">
                  <c:v>15</c:v>
                </c:pt>
                <c:pt idx="1">
                  <c:v>28</c:v>
                </c:pt>
                <c:pt idx="2">
                  <c:v>58</c:v>
                </c:pt>
                <c:pt idx="3">
                  <c:v>1</c:v>
                </c:pt>
                <c:pt idx="4">
                  <c:v>2</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Trade Margin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8</c:f>
              <c:strCache>
                <c:ptCount val="7"/>
                <c:pt idx="0">
                  <c:v>Frais A Tartiner</c:v>
                </c:pt>
                <c:pt idx="1">
                  <c:v>Aperitif</c:v>
                </c:pt>
                <c:pt idx="2">
                  <c:v>Enfant</c:v>
                </c:pt>
                <c:pt idx="3">
                  <c:v>Alternative Vegetale</c:v>
                </c:pt>
                <c:pt idx="4">
                  <c:v>Salade</c:v>
                </c:pt>
                <c:pt idx="5">
                  <c:v>Brebis</c:v>
                </c:pt>
              </c:strCache>
            </c:strRef>
          </c:cat>
          <c:val>
            <c:numRef>
              <c:f>Sheet1!$B$2:$B$8</c:f>
              <c:numCache>
                <c:formatCode>General</c:formatCode>
                <c:ptCount val="7"/>
                <c:pt idx="0">
                  <c:v>-1.6663411195171118E-2</c:v>
                </c:pt>
                <c:pt idx="1">
                  <c:v>-1.5195965733625916E-3</c:v>
                </c:pt>
                <c:pt idx="2">
                  <c:v>-2.5116706634901564E-2</c:v>
                </c:pt>
                <c:pt idx="3">
                  <c:v>1.3445497296581677E-2</c:v>
                </c:pt>
                <c:pt idx="4">
                  <c:v>-1.4468688345558589E-2</c:v>
                </c:pt>
                <c:pt idx="5">
                  <c:v>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rade Margin %</c:v>
                </c:pt>
              </c:strCache>
            </c:strRef>
          </c:tx>
          <c:spPr>
            <a:solidFill>
              <a:srgbClr val="AEABAB"/>
            </a:solidFill>
            <a:ln w="9525" cap="flat" cmpd="sng" algn="ctr">
              <a:noFill/>
              <a:round/>
            </a:ln>
            <a:effectLst/>
          </c:spPr>
          <c:invertIfNegative val="1"/>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Frais A Tartiner</c:v>
                </c:pt>
                <c:pt idx="1">
                  <c:v>Aperitif</c:v>
                </c:pt>
                <c:pt idx="2">
                  <c:v>Enfant</c:v>
                </c:pt>
                <c:pt idx="3">
                  <c:v>Alternative Vegetale</c:v>
                </c:pt>
                <c:pt idx="4">
                  <c:v>Salade</c:v>
                </c:pt>
                <c:pt idx="5">
                  <c:v>Brebis</c:v>
                </c:pt>
              </c:strCache>
            </c:strRef>
          </c:cat>
          <c:val>
            <c:numRef>
              <c:f>Sheet1!$B$2:$B$8</c:f>
              <c:numCache>
                <c:formatCode>General</c:formatCode>
                <c:ptCount val="7"/>
                <c:pt idx="0">
                  <c:v>0.35539999999999999</c:v>
                </c:pt>
                <c:pt idx="1">
                  <c:v>0.40720000000000001</c:v>
                </c:pt>
                <c:pt idx="2">
                  <c:v>0.34320000000000001</c:v>
                </c:pt>
                <c:pt idx="3">
                  <c:v>0.44900000000000001</c:v>
                </c:pt>
                <c:pt idx="4">
                  <c:v>0.40949999999999998</c:v>
                </c:pt>
                <c:pt idx="5">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noFill/>
                    <a:round/>
                  </a:ln>
                  <a:effectLst/>
                </c14:spPr>
              </c14:invertSolidFillFmt>
            </c:ex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General"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Value Sales</c:v>
                </c:pt>
              </c:strCache>
            </c:strRef>
          </c:tx>
          <c:spPr>
            <a:solidFill>
              <a:srgbClr val="AEABAB">
                <a:alpha val="84706"/>
              </a:srgbClr>
            </a:solidFill>
            <a:ln w="9525" cap="flat" cmpd="sng" algn="ctr">
              <a:solidFill>
                <a:schemeClr val="lt1">
                  <a:alpha val="50000"/>
                </a:schemeClr>
              </a:solidFill>
              <a:round/>
            </a:ln>
            <a:effectLst/>
          </c:spPr>
          <c:invertIfNegative val="1"/>
          <c:dLbls>
            <c:numFmt formatCode="#,##0&quot; €&quot;"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Frais A Tartiner</c:v>
                </c:pt>
                <c:pt idx="1">
                  <c:v>Aperitif</c:v>
                </c:pt>
                <c:pt idx="2">
                  <c:v>Enfant</c:v>
                </c:pt>
                <c:pt idx="3">
                  <c:v>Alternative Vegetale</c:v>
                </c:pt>
                <c:pt idx="4">
                  <c:v>Salade</c:v>
                </c:pt>
                <c:pt idx="5">
                  <c:v>Brebis</c:v>
                </c:pt>
              </c:strCache>
            </c:strRef>
          </c:cat>
          <c:val>
            <c:numRef>
              <c:f>Sheet1!$B$2:$B$8</c:f>
              <c:numCache>
                <c:formatCode>General</c:formatCode>
                <c:ptCount val="7"/>
                <c:pt idx="0">
                  <c:v>14</c:v>
                </c:pt>
                <c:pt idx="1">
                  <c:v>27</c:v>
                </c:pt>
                <c:pt idx="2">
                  <c:v>74</c:v>
                </c:pt>
                <c:pt idx="3">
                  <c:v>1</c:v>
                </c:pt>
                <c:pt idx="4">
                  <c:v>3</c:v>
                </c:pt>
                <c:pt idx="5">
                  <c:v>0</c:v>
                </c:pt>
              </c:numCache>
            </c:numRef>
          </c:val>
          <c:extLst>
            <c:ext xmlns:c14="http://schemas.microsoft.com/office/drawing/2007/8/2/chart" uri="{6F2FDCE9-48DA-4B69-8628-5D25D57E5C99}">
              <c14:invertSolidFillFmt>
                <c14:spPr xmlns:c14="http://schemas.microsoft.com/office/drawing/2007/8/2/chart">
                  <a:solidFill>
                    <a:srgbClr val="FFFFFF"/>
                  </a:solidFill>
                  <a:ln w="9525" cap="flat" cmpd="sng" algn="ctr">
                    <a:solidFill>
                      <a:schemeClr val="lt1">
                        <a:alpha val="50000"/>
                      </a:schemeClr>
                    </a:solidFill>
                    <a:round/>
                  </a:ln>
                  <a:effectLst/>
                </c14:spPr>
              </c14:invertSolidFillFmt>
            </c:ex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General"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4</c:v>
                </c:pt>
                <c:pt idx="1">
                  <c:v>Av Price/Vol 18.59</c:v>
                </c:pt>
                <c:pt idx="2">
                  <c:v>Av Price/Vol 18.83</c:v>
                </c:pt>
              </c:strCache>
            </c:strRef>
          </c:cat>
          <c:val>
            <c:numRef>
              <c:f>Sheet1!$B$2:$B$4</c:f>
              <c:numCache>
                <c:formatCode>General</c:formatCode>
                <c:ptCount val="3"/>
                <c:pt idx="0">
                  <c:v>2.8325999999999998</c:v>
                </c:pt>
                <c:pt idx="1">
                  <c:v>4.5529999999999999</c:v>
                </c:pt>
                <c:pt idx="2">
                  <c:v>3.07379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4</c:v>
                </c:pt>
                <c:pt idx="1">
                  <c:v>Av Price/Vol 18.59</c:v>
                </c:pt>
                <c:pt idx="2">
                  <c:v>Av Price/Vol 18.83</c:v>
                </c:pt>
              </c:strCache>
            </c:strRef>
          </c:cat>
          <c:val>
            <c:numRef>
              <c:f>Sheet1!$C$2:$C$4</c:f>
              <c:numCache>
                <c:formatCode>General</c:formatCode>
                <c:ptCount val="3"/>
                <c:pt idx="0">
                  <c:v>5.2933000000000003</c:v>
                </c:pt>
                <c:pt idx="1">
                  <c:v>6.3734000000000002</c:v>
                </c:pt>
                <c:pt idx="2">
                  <c:v>7.044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4</c:v>
                </c:pt>
                <c:pt idx="1">
                  <c:v>Av Price/Vol 18.59</c:v>
                </c:pt>
                <c:pt idx="2">
                  <c:v>Av Price/Vol 18.83</c:v>
                </c:pt>
              </c:strCache>
            </c:strRef>
          </c:cat>
          <c:val>
            <c:numRef>
              <c:f>Sheet1!$D$2:$D$4</c:f>
              <c:numCache>
                <c:formatCode>General</c:formatCode>
                <c:ptCount val="3"/>
                <c:pt idx="0">
                  <c:v>4.8048000000000002</c:v>
                </c:pt>
                <c:pt idx="1">
                  <c:v>6.6981000000000002</c:v>
                </c:pt>
                <c:pt idx="2">
                  <c:v>7.727000000000000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3.64</c:v>
                </c:pt>
                <c:pt idx="1">
                  <c:v>Av Price/Vol 18.59</c:v>
                </c:pt>
                <c:pt idx="2">
                  <c:v>Av Price/Vol 18.83</c:v>
                </c:pt>
              </c:strCache>
            </c:strRef>
          </c:cat>
          <c:val>
            <c:numRef>
              <c:f>Sheet1!$E$2:$E$4</c:f>
              <c:numCache>
                <c:formatCode>General</c:formatCode>
                <c:ptCount val="3"/>
                <c:pt idx="0">
                  <c:v>0.71118603522581525</c:v>
                </c:pt>
                <c:pt idx="1">
                  <c:v>0.96934298228173099</c:v>
                </c:pt>
                <c:pt idx="2">
                  <c:v>0.9814823084020262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2.41</c:v>
                </c:pt>
                <c:pt idx="1">
                  <c:v>Av Price/Vol 19.34</c:v>
                </c:pt>
                <c:pt idx="2">
                  <c:v>Av Price/Vol 17.96</c:v>
                </c:pt>
              </c:strCache>
            </c:strRef>
          </c:cat>
          <c:val>
            <c:numRef>
              <c:f>Sheet1!$B$2:$B$4</c:f>
              <c:numCache>
                <c:formatCode>General</c:formatCode>
                <c:ptCount val="3"/>
                <c:pt idx="0">
                  <c:v>2.5213999999999999</c:v>
                </c:pt>
                <c:pt idx="1">
                  <c:v>4.5663999999999998</c:v>
                </c:pt>
                <c:pt idx="2">
                  <c:v>2.836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2.41</c:v>
                </c:pt>
                <c:pt idx="1">
                  <c:v>Av Price/Vol 19.34</c:v>
                </c:pt>
                <c:pt idx="2">
                  <c:v>Av Price/Vol 17.96</c:v>
                </c:pt>
              </c:strCache>
            </c:strRef>
          </c:cat>
          <c:val>
            <c:numRef>
              <c:f>Sheet1!$C$2:$C$4</c:f>
              <c:numCache>
                <c:formatCode>General</c:formatCode>
                <c:ptCount val="3"/>
                <c:pt idx="0">
                  <c:v>5.1555999999999997</c:v>
                </c:pt>
                <c:pt idx="1">
                  <c:v>6.3017000000000003</c:v>
                </c:pt>
                <c:pt idx="2">
                  <c:v>6.54549999999999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2.41</c:v>
                </c:pt>
                <c:pt idx="1">
                  <c:v>Av Price/Vol 19.34</c:v>
                </c:pt>
                <c:pt idx="2">
                  <c:v>Av Price/Vol 17.96</c:v>
                </c:pt>
              </c:strCache>
            </c:strRef>
          </c:cat>
          <c:val>
            <c:numRef>
              <c:f>Sheet1!$D$2:$D$4</c:f>
              <c:numCache>
                <c:formatCode>General</c:formatCode>
                <c:ptCount val="3"/>
                <c:pt idx="0">
                  <c:v>4.0841000000000003</c:v>
                </c:pt>
                <c:pt idx="1">
                  <c:v>7.4652000000000003</c:v>
                </c:pt>
                <c:pt idx="2">
                  <c:v>7.6440000000000001</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Vol 12.41</c:v>
                </c:pt>
                <c:pt idx="1">
                  <c:v>Av Price/Vol 19.34</c:v>
                </c:pt>
                <c:pt idx="2">
                  <c:v>Av Price/Vol 17.96</c:v>
                </c:pt>
              </c:strCache>
            </c:strRef>
          </c:cat>
          <c:val>
            <c:numRef>
              <c:f>Sheet1!$E$2:$E$4</c:f>
              <c:numCache>
                <c:formatCode>General</c:formatCode>
                <c:ptCount val="3"/>
                <c:pt idx="0">
                  <c:v>0.64698952247742003</c:v>
                </c:pt>
                <c:pt idx="1">
                  <c:v>1.008331217058773</c:v>
                </c:pt>
                <c:pt idx="2">
                  <c:v>0.9364411317414186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Vol 15.11</c:v>
                </c:pt>
                <c:pt idx="1">
                  <c:v>Av Price/Vol 18.59</c:v>
                </c:pt>
                <c:pt idx="2">
                  <c:v>Av Price/Vol 13.19</c:v>
                </c:pt>
                <c:pt idx="3">
                  <c:v>Av Price/Vol 18.83</c:v>
                </c:pt>
                <c:pt idx="4">
                  <c:v>Av Price/Vol 19.54</c:v>
                </c:pt>
              </c:strCache>
            </c:strRef>
          </c:cat>
          <c:val>
            <c:numRef>
              <c:f>Sheet1!$B$2:$B$6</c:f>
              <c:numCache>
                <c:formatCode>General</c:formatCode>
                <c:ptCount val="5"/>
                <c:pt idx="0">
                  <c:v>2.4207000000000001</c:v>
                </c:pt>
                <c:pt idx="1">
                  <c:v>4.5529999999999999</c:v>
                </c:pt>
                <c:pt idx="2">
                  <c:v>2.9165000000000001</c:v>
                </c:pt>
                <c:pt idx="3">
                  <c:v>3.0737999999999999</c:v>
                </c:pt>
                <c:pt idx="4">
                  <c:v>3.19689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Vol 15.11</c:v>
                </c:pt>
                <c:pt idx="1">
                  <c:v>Av Price/Vol 18.59</c:v>
                </c:pt>
                <c:pt idx="2">
                  <c:v>Av Price/Vol 13.19</c:v>
                </c:pt>
                <c:pt idx="3">
                  <c:v>Av Price/Vol 18.83</c:v>
                </c:pt>
                <c:pt idx="4">
                  <c:v>Av Price/Vol 19.54</c:v>
                </c:pt>
              </c:strCache>
            </c:strRef>
          </c:cat>
          <c:val>
            <c:numRef>
              <c:f>Sheet1!$C$2:$C$6</c:f>
              <c:numCache>
                <c:formatCode>General</c:formatCode>
                <c:ptCount val="5"/>
                <c:pt idx="0">
                  <c:v>6.2622999999999998</c:v>
                </c:pt>
                <c:pt idx="1">
                  <c:v>6.3734000000000002</c:v>
                </c:pt>
                <c:pt idx="2">
                  <c:v>5.0343999999999998</c:v>
                </c:pt>
                <c:pt idx="3">
                  <c:v>7.0442</c:v>
                </c:pt>
                <c:pt idx="4">
                  <c:v>7.401799999999999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Vol 15.11</c:v>
                </c:pt>
                <c:pt idx="1">
                  <c:v>Av Price/Vol 18.59</c:v>
                </c:pt>
                <c:pt idx="2">
                  <c:v>Av Price/Vol 13.19</c:v>
                </c:pt>
                <c:pt idx="3">
                  <c:v>Av Price/Vol 18.83</c:v>
                </c:pt>
                <c:pt idx="4">
                  <c:v>Av Price/Vol 19.54</c:v>
                </c:pt>
              </c:strCache>
            </c:strRef>
          </c:cat>
          <c:val>
            <c:numRef>
              <c:f>Sheet1!$D$2:$D$6</c:f>
              <c:numCache>
                <c:formatCode>General</c:formatCode>
                <c:ptCount val="5"/>
                <c:pt idx="0">
                  <c:v>5.6379999999999999</c:v>
                </c:pt>
                <c:pt idx="1">
                  <c:v>6.6981000000000002</c:v>
                </c:pt>
                <c:pt idx="2">
                  <c:v>4.5549999999999997</c:v>
                </c:pt>
                <c:pt idx="3">
                  <c:v>7.7270000000000003</c:v>
                </c:pt>
                <c:pt idx="4">
                  <c:v>7.927100000000000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Vol 15.11</c:v>
                </c:pt>
                <c:pt idx="1">
                  <c:v>Av Price/Vol 18.59</c:v>
                </c:pt>
                <c:pt idx="2">
                  <c:v>Av Price/Vol 13.19</c:v>
                </c:pt>
                <c:pt idx="3">
                  <c:v>Av Price/Vol 18.83</c:v>
                </c:pt>
                <c:pt idx="4">
                  <c:v>Av Price/Vol 19.54</c:v>
                </c:pt>
              </c:strCache>
            </c:strRef>
          </c:cat>
          <c:val>
            <c:numRef>
              <c:f>Sheet1!$E$2:$E$6</c:f>
              <c:numCache>
                <c:formatCode>General</c:formatCode>
                <c:ptCount val="5"/>
                <c:pt idx="0">
                  <c:v>0.7876427959102722</c:v>
                </c:pt>
                <c:pt idx="1">
                  <c:v>0.96934298228173099</c:v>
                </c:pt>
                <c:pt idx="2">
                  <c:v>0.68781840050121235</c:v>
                </c:pt>
                <c:pt idx="3">
                  <c:v>0.98148230840202622</c:v>
                </c:pt>
                <c:pt idx="4">
                  <c:v>1.018916460250559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Vol 15.50</c:v>
                </c:pt>
                <c:pt idx="1">
                  <c:v>Av Price/Vol 19.34</c:v>
                </c:pt>
                <c:pt idx="2">
                  <c:v>Av Price/Vol 11.80</c:v>
                </c:pt>
                <c:pt idx="3">
                  <c:v>Av Price/Vol 17.96</c:v>
                </c:pt>
                <c:pt idx="4">
                  <c:v>Av Price/Vol 18.67</c:v>
                </c:pt>
              </c:strCache>
            </c:strRef>
          </c:cat>
          <c:val>
            <c:numRef>
              <c:f>Sheet1!$B$2:$B$6</c:f>
              <c:numCache>
                <c:formatCode>General</c:formatCode>
                <c:ptCount val="5"/>
                <c:pt idx="0">
                  <c:v>3.2279</c:v>
                </c:pt>
                <c:pt idx="1">
                  <c:v>4.5663999999999998</c:v>
                </c:pt>
                <c:pt idx="2">
                  <c:v>2.4075000000000002</c:v>
                </c:pt>
                <c:pt idx="3">
                  <c:v>2.8369</c:v>
                </c:pt>
                <c:pt idx="4">
                  <c:v>3.039600000000000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Vol 15.50</c:v>
                </c:pt>
                <c:pt idx="1">
                  <c:v>Av Price/Vol 19.34</c:v>
                </c:pt>
                <c:pt idx="2">
                  <c:v>Av Price/Vol 11.80</c:v>
                </c:pt>
                <c:pt idx="3">
                  <c:v>Av Price/Vol 17.96</c:v>
                </c:pt>
                <c:pt idx="4">
                  <c:v>Av Price/Vol 18.67</c:v>
                </c:pt>
              </c:strCache>
            </c:strRef>
          </c:cat>
          <c:val>
            <c:numRef>
              <c:f>Sheet1!$C$2:$C$6</c:f>
              <c:numCache>
                <c:formatCode>General</c:formatCode>
                <c:ptCount val="5"/>
                <c:pt idx="0">
                  <c:v>6.2450999999999999</c:v>
                </c:pt>
                <c:pt idx="1">
                  <c:v>6.3017000000000003</c:v>
                </c:pt>
                <c:pt idx="2">
                  <c:v>4.9402999999999997</c:v>
                </c:pt>
                <c:pt idx="3">
                  <c:v>6.5454999999999997</c:v>
                </c:pt>
                <c:pt idx="4">
                  <c:v>7.410700000000000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Vol 15.50</c:v>
                </c:pt>
                <c:pt idx="1">
                  <c:v>Av Price/Vol 19.34</c:v>
                </c:pt>
                <c:pt idx="2">
                  <c:v>Av Price/Vol 11.80</c:v>
                </c:pt>
                <c:pt idx="3">
                  <c:v>Av Price/Vol 17.96</c:v>
                </c:pt>
                <c:pt idx="4">
                  <c:v>Av Price/Vol 18.67</c:v>
                </c:pt>
              </c:strCache>
            </c:strRef>
          </c:cat>
          <c:val>
            <c:numRef>
              <c:f>Sheet1!$D$2:$D$6</c:f>
              <c:numCache>
                <c:formatCode>General</c:formatCode>
                <c:ptCount val="5"/>
                <c:pt idx="0">
                  <c:v>5.2234999999999996</c:v>
                </c:pt>
                <c:pt idx="1">
                  <c:v>7.4652000000000003</c:v>
                </c:pt>
                <c:pt idx="2">
                  <c:v>3.8370000000000002</c:v>
                </c:pt>
                <c:pt idx="3">
                  <c:v>7.6440000000000001</c:v>
                </c:pt>
                <c:pt idx="4">
                  <c:v>7.246400000000000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Vol 15.50</c:v>
                </c:pt>
                <c:pt idx="1">
                  <c:v>Av Price/Vol 19.34</c:v>
                </c:pt>
                <c:pt idx="2">
                  <c:v>Av Price/Vol 11.80</c:v>
                </c:pt>
                <c:pt idx="3">
                  <c:v>Av Price/Vol 17.96</c:v>
                </c:pt>
                <c:pt idx="4">
                  <c:v>Av Price/Vol 18.67</c:v>
                </c:pt>
              </c:strCache>
            </c:strRef>
          </c:cat>
          <c:val>
            <c:numRef>
              <c:f>Sheet1!$E$2:$E$6</c:f>
              <c:numCache>
                <c:formatCode>General</c:formatCode>
                <c:ptCount val="5"/>
                <c:pt idx="0">
                  <c:v>0.80831316629354188</c:v>
                </c:pt>
                <c:pt idx="1">
                  <c:v>1.008331217058773</c:v>
                </c:pt>
                <c:pt idx="2">
                  <c:v>0.61532011883651216</c:v>
                </c:pt>
                <c:pt idx="3">
                  <c:v>0.93644113174141863</c:v>
                </c:pt>
                <c:pt idx="4">
                  <c:v>0.9733169996889984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07</c:v>
                </c:pt>
                <c:pt idx="1">
                  <c:v>Av Price/Unit 4.18</c:v>
                </c:pt>
                <c:pt idx="2">
                  <c:v>Av Price/Unit 4.48</c:v>
                </c:pt>
                <c:pt idx="3">
                  <c:v>Av Price/Unit 4.20</c:v>
                </c:pt>
                <c:pt idx="4">
                  <c:v>Av Price/Unit 3.36</c:v>
                </c:pt>
                <c:pt idx="5">
                  <c:v>Av Price/Unit 4.18</c:v>
                </c:pt>
                <c:pt idx="6">
                  <c:v>Av Price/Unit 2.19</c:v>
                </c:pt>
                <c:pt idx="7">
                  <c:v>Av Price/Unit 4.29</c:v>
                </c:pt>
                <c:pt idx="8">
                  <c:v>Av Price/Unit 4.34</c:v>
                </c:pt>
                <c:pt idx="9">
                  <c:v>Av Price/Unit 2.42</c:v>
                </c:pt>
                <c:pt idx="10">
                  <c:v>Av Price/Unit 3.39</c:v>
                </c:pt>
                <c:pt idx="11">
                  <c:v>Av Price/Unit 4.14</c:v>
                </c:pt>
              </c:strCache>
            </c:strRef>
          </c:cat>
          <c:val>
            <c:numRef>
              <c:f>Sheet1!$B$2:$B$13</c:f>
              <c:numCache>
                <c:formatCode>General</c:formatCode>
                <c:ptCount val="12"/>
                <c:pt idx="0">
                  <c:v>1.1490529256253836</c:v>
                </c:pt>
                <c:pt idx="1">
                  <c:v>1.141840090953304</c:v>
                </c:pt>
                <c:pt idx="2">
                  <c:v>1.1055741024092138</c:v>
                </c:pt>
                <c:pt idx="3">
                  <c:v>1.0901287425807291</c:v>
                </c:pt>
                <c:pt idx="4">
                  <c:v>0.51116316721880162</c:v>
                </c:pt>
                <c:pt idx="5">
                  <c:v>1.1003191581666381</c:v>
                </c:pt>
                <c:pt idx="6">
                  <c:v>0.69758535389387566</c:v>
                </c:pt>
                <c:pt idx="7">
                  <c:v>0.96126276810997835</c:v>
                </c:pt>
                <c:pt idx="8">
                  <c:v>0.95788771706928344</c:v>
                </c:pt>
                <c:pt idx="9">
                  <c:v>0.68681297048381718</c:v>
                </c:pt>
                <c:pt idx="10">
                  <c:v>0.43074293657091739</c:v>
                </c:pt>
                <c:pt idx="11">
                  <c:v>1.1571564508481613</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07</c:v>
                </c:pt>
                <c:pt idx="1">
                  <c:v>Av Price/Unit 4.18</c:v>
                </c:pt>
                <c:pt idx="2">
                  <c:v>Av Price/Unit 4.48</c:v>
                </c:pt>
                <c:pt idx="3">
                  <c:v>Av Price/Unit 4.20</c:v>
                </c:pt>
                <c:pt idx="4">
                  <c:v>Av Price/Unit 3.36</c:v>
                </c:pt>
                <c:pt idx="5">
                  <c:v>Av Price/Unit 4.18</c:v>
                </c:pt>
                <c:pt idx="6">
                  <c:v>Av Price/Unit 2.19</c:v>
                </c:pt>
                <c:pt idx="7">
                  <c:v>Av Price/Unit 4.29</c:v>
                </c:pt>
                <c:pt idx="8">
                  <c:v>Av Price/Unit 4.34</c:v>
                </c:pt>
                <c:pt idx="9">
                  <c:v>Av Price/Unit 2.42</c:v>
                </c:pt>
                <c:pt idx="10">
                  <c:v>Av Price/Unit 3.39</c:v>
                </c:pt>
                <c:pt idx="11">
                  <c:v>Av Price/Unit 4.14</c:v>
                </c:pt>
              </c:strCache>
            </c:strRef>
          </c:cat>
          <c:val>
            <c:numRef>
              <c:f>Sheet1!$C$2:$C$13</c:f>
              <c:numCache>
                <c:formatCode>General</c:formatCode>
                <c:ptCount val="12"/>
                <c:pt idx="0">
                  <c:v>1.4120783901847958</c:v>
                </c:pt>
                <c:pt idx="1">
                  <c:v>1.3874535637290126</c:v>
                </c:pt>
                <c:pt idx="2">
                  <c:v>1.4010306724763357</c:v>
                </c:pt>
                <c:pt idx="3">
                  <c:v>1.4447378622042097</c:v>
                </c:pt>
                <c:pt idx="4">
                  <c:v>1.3856637456850773</c:v>
                </c:pt>
                <c:pt idx="5">
                  <c:v>1.3952356978837215</c:v>
                </c:pt>
                <c:pt idx="6">
                  <c:v>0.67019870215074773</c:v>
                </c:pt>
                <c:pt idx="7">
                  <c:v>1.4444752955327382</c:v>
                </c:pt>
                <c:pt idx="8">
                  <c:v>1.4408305782546675</c:v>
                </c:pt>
                <c:pt idx="9">
                  <c:v>0.73246776489265086</c:v>
                </c:pt>
                <c:pt idx="10">
                  <c:v>1.3760727293864328</c:v>
                </c:pt>
                <c:pt idx="11">
                  <c:v>1.366542458238472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07</c:v>
                </c:pt>
                <c:pt idx="1">
                  <c:v>Av Price/Unit 4.18</c:v>
                </c:pt>
                <c:pt idx="2">
                  <c:v>Av Price/Unit 4.48</c:v>
                </c:pt>
                <c:pt idx="3">
                  <c:v>Av Price/Unit 4.20</c:v>
                </c:pt>
                <c:pt idx="4">
                  <c:v>Av Price/Unit 3.36</c:v>
                </c:pt>
                <c:pt idx="5">
                  <c:v>Av Price/Unit 4.18</c:v>
                </c:pt>
                <c:pt idx="6">
                  <c:v>Av Price/Unit 2.19</c:v>
                </c:pt>
                <c:pt idx="7">
                  <c:v>Av Price/Unit 4.29</c:v>
                </c:pt>
                <c:pt idx="8">
                  <c:v>Av Price/Unit 4.34</c:v>
                </c:pt>
                <c:pt idx="9">
                  <c:v>Av Price/Unit 2.42</c:v>
                </c:pt>
                <c:pt idx="10">
                  <c:v>Av Price/Unit 3.39</c:v>
                </c:pt>
                <c:pt idx="11">
                  <c:v>Av Price/Unit 4.14</c:v>
                </c:pt>
              </c:strCache>
            </c:strRef>
          </c:cat>
          <c:val>
            <c:numRef>
              <c:f>Sheet1!$D$2:$D$13</c:f>
              <c:numCache>
                <c:formatCode>General</c:formatCode>
                <c:ptCount val="12"/>
                <c:pt idx="0">
                  <c:v>1.2974200264572335</c:v>
                </c:pt>
                <c:pt idx="1">
                  <c:v>1.4317887967864404</c:v>
                </c:pt>
                <c:pt idx="2">
                  <c:v>1.738249145076582</c:v>
                </c:pt>
                <c:pt idx="3">
                  <c:v>1.4480361658517853</c:v>
                </c:pt>
                <c:pt idx="4">
                  <c:v>1.2872076128279848</c:v>
                </c:pt>
                <c:pt idx="5">
                  <c:v>1.4698007016654833</c:v>
                </c:pt>
                <c:pt idx="6">
                  <c:v>0.70759219397343354</c:v>
                </c:pt>
                <c:pt idx="7">
                  <c:v>1.6635045095479279</c:v>
                </c:pt>
                <c:pt idx="8">
                  <c:v>1.7166238515219372</c:v>
                </c:pt>
                <c:pt idx="9">
                  <c:v>0.87364327382878604</c:v>
                </c:pt>
                <c:pt idx="10">
                  <c:v>1.4019280760585859</c:v>
                </c:pt>
                <c:pt idx="11">
                  <c:v>1.398303117804785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07</c:v>
                </c:pt>
                <c:pt idx="1">
                  <c:v>Av Price/Unit 4.18</c:v>
                </c:pt>
                <c:pt idx="2">
                  <c:v>Av Price/Unit 4.48</c:v>
                </c:pt>
                <c:pt idx="3">
                  <c:v>Av Price/Unit 4.20</c:v>
                </c:pt>
                <c:pt idx="4">
                  <c:v>Av Price/Unit 3.36</c:v>
                </c:pt>
                <c:pt idx="5">
                  <c:v>Av Price/Unit 4.18</c:v>
                </c:pt>
                <c:pt idx="6">
                  <c:v>Av Price/Unit 2.19</c:v>
                </c:pt>
                <c:pt idx="7">
                  <c:v>Av Price/Unit 4.29</c:v>
                </c:pt>
                <c:pt idx="8">
                  <c:v>Av Price/Unit 4.34</c:v>
                </c:pt>
                <c:pt idx="9">
                  <c:v>Av Price/Unit 2.42</c:v>
                </c:pt>
                <c:pt idx="10">
                  <c:v>Av Price/Unit 3.39</c:v>
                </c:pt>
                <c:pt idx="11">
                  <c:v>Av Price/Unit 4.14</c:v>
                </c:pt>
              </c:strCache>
            </c:strRef>
          </c:cat>
          <c:val>
            <c:numRef>
              <c:f>Sheet1!$E$2:$E$13</c:f>
              <c:numCache>
                <c:formatCode>General</c:formatCode>
                <c:ptCount val="12"/>
                <c:pt idx="0">
                  <c:v>0.21221744630599432</c:v>
                </c:pt>
                <c:pt idx="1">
                  <c:v>0.21785697989767183</c:v>
                </c:pt>
                <c:pt idx="2">
                  <c:v>0.23346953253891842</c:v>
                </c:pt>
                <c:pt idx="3">
                  <c:v>0.21906212481801865</c:v>
                </c:pt>
                <c:pt idx="4">
                  <c:v>0.1751189827078386</c:v>
                </c:pt>
                <c:pt idx="5">
                  <c:v>0.21809455567437167</c:v>
                </c:pt>
                <c:pt idx="6">
                  <c:v>0.11414569375099322</c:v>
                </c:pt>
                <c:pt idx="7">
                  <c:v>0.22381053529026215</c:v>
                </c:pt>
                <c:pt idx="8">
                  <c:v>0.22634381807652396</c:v>
                </c:pt>
                <c:pt idx="9">
                  <c:v>0.12611082050628897</c:v>
                </c:pt>
                <c:pt idx="10">
                  <c:v>0.17648090581087633</c:v>
                </c:pt>
                <c:pt idx="11">
                  <c:v>0.2157101114790278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91D898B-16B8-44A1-A3CE-2AA0C3D87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AC74952-17E1-4F6B-BD3C-1881B9BE5B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F587040-5AEC-4329-95A7-35807DBAA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47604E1A-BD20-4CF5-8C1A-AAB4246F8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1B92ACD7-0A33-4193-B064-28E025DE1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9F0E7464-023B-4428-AD8E-AD6DB8232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676FC6BB-1272-478E-AC8B-ED6DA8A6D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E41D4FA3-0415-466F-BE0B-F430D6AE8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9.5852000000000004</c:v>
                </c:pt>
                <c:pt idx="1">
                  <c:v>9.6356000000000002</c:v>
                </c:pt>
              </c:numCache>
            </c:numRef>
          </c:xVal>
          <c:yVal>
            <c:numRef>
              <c:f>Sheet1!$B$2:$B$3</c:f>
              <c:numCache>
                <c:formatCode>General</c:formatCode>
                <c:ptCount val="2"/>
                <c:pt idx="0">
                  <c:v>0.32340000000000002</c:v>
                </c:pt>
                <c:pt idx="1">
                  <c:v>0.40129999999999999</c:v>
                </c:pt>
              </c:numCache>
            </c:numRef>
          </c:yVal>
          <c:bubbleSize>
            <c:numRef>
              <c:f>Sheet1!$C$2:$C$3</c:f>
              <c:numCache>
                <c:formatCode>General</c:formatCode>
                <c:ptCount val="2"/>
                <c:pt idx="0">
                  <c:v>1857879.5649999999</c:v>
                </c:pt>
                <c:pt idx="1">
                  <c:v>174740.95920000001</c:v>
                </c:pt>
              </c:numCache>
            </c:numRef>
          </c:bubbleSize>
          <c:bubble3D val="0"/>
          <c:extLst>
            <c:ext xmlns:c15="http://schemas.microsoft.com/office/drawing/2012/chart" uri="{02D57815-91ED-43cb-92C2-25804820EDAC}">
              <c15:datalabelsRange>
                <c15:f>Sheet1!$E$2:$E$29</c15:f>
                <c15:dlblRangeCache>
                  <c:ptCount val="28"/>
                  <c:pt idx="0">
                    <c:v>Boursin</c:v>
                  </c:pt>
                  <c:pt idx="1">
                    <c:v>Kiri</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1.562720000000001"/>
          <c:min val="7.6681600000000003"/>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3009693165035692"/>
        <c:crossBetween val="midCat"/>
      </c:valAx>
      <c:valAx>
        <c:axId val="1011451359"/>
        <c:scaling>
          <c:orientation val="minMax"/>
          <c:max val="0.84155999999999997"/>
          <c:min val="1.8720000000000025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589532803018974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4.07</c:v>
                </c:pt>
                <c:pt idx="7">
                  <c:v>Av Price/Unit 5.21</c:v>
                </c:pt>
                <c:pt idx="8">
                  <c:v>Av Price/Unit 4.18</c:v>
                </c:pt>
                <c:pt idx="9">
                  <c:v>Av Price/Unit 2.43</c:v>
                </c:pt>
                <c:pt idx="10">
                  <c:v>Av Price/Unit 4.48</c:v>
                </c:pt>
                <c:pt idx="11">
                  <c:v>Av Price/Unit 3.26</c:v>
                </c:pt>
              </c:strCache>
            </c:strRef>
          </c:cat>
          <c:val>
            <c:numRef>
              <c:f>Sheet1!$B$2:$B$13</c:f>
              <c:numCache>
                <c:formatCode>General</c:formatCode>
                <c:ptCount val="12"/>
                <c:pt idx="0">
                  <c:v>1.0934819956160184</c:v>
                </c:pt>
                <c:pt idx="1">
                  <c:v>0.78152773524577102</c:v>
                </c:pt>
                <c:pt idx="2">
                  <c:v>0.56580556709380414</c:v>
                </c:pt>
                <c:pt idx="3">
                  <c:v>0.65947010055119304</c:v>
                </c:pt>
                <c:pt idx="4">
                  <c:v>0.75869120950827296</c:v>
                </c:pt>
                <c:pt idx="5">
                  <c:v>0.80823054354932211</c:v>
                </c:pt>
                <c:pt idx="6">
                  <c:v>1.1490529256253836</c:v>
                </c:pt>
                <c:pt idx="7">
                  <c:v>1.1325946747246518</c:v>
                </c:pt>
                <c:pt idx="8">
                  <c:v>1.141840090953304</c:v>
                </c:pt>
                <c:pt idx="9">
                  <c:v>0.42012280520508982</c:v>
                </c:pt>
                <c:pt idx="10">
                  <c:v>1.1055741024092138</c:v>
                </c:pt>
                <c:pt idx="11">
                  <c:v>0.43367748726971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4.07</c:v>
                </c:pt>
                <c:pt idx="7">
                  <c:v>Av Price/Unit 5.21</c:v>
                </c:pt>
                <c:pt idx="8">
                  <c:v>Av Price/Unit 4.18</c:v>
                </c:pt>
                <c:pt idx="9">
                  <c:v>Av Price/Unit 2.43</c:v>
                </c:pt>
                <c:pt idx="10">
                  <c:v>Av Price/Unit 4.48</c:v>
                </c:pt>
                <c:pt idx="11">
                  <c:v>Av Price/Unit 3.26</c:v>
                </c:pt>
              </c:strCache>
            </c:strRef>
          </c:cat>
          <c:val>
            <c:numRef>
              <c:f>Sheet1!$C$2:$C$13</c:f>
              <c:numCache>
                <c:formatCode>General</c:formatCode>
                <c:ptCount val="12"/>
                <c:pt idx="0">
                  <c:v>1.6880059119905082</c:v>
                </c:pt>
                <c:pt idx="1">
                  <c:v>2.1759592025361942</c:v>
                </c:pt>
                <c:pt idx="2">
                  <c:v>0.85550606762343218</c:v>
                </c:pt>
                <c:pt idx="3">
                  <c:v>0.84160389318903628</c:v>
                </c:pt>
                <c:pt idx="4">
                  <c:v>1.643927595609094</c:v>
                </c:pt>
                <c:pt idx="5">
                  <c:v>1.0765426830204361</c:v>
                </c:pt>
                <c:pt idx="6">
                  <c:v>1.4120783901847958</c:v>
                </c:pt>
                <c:pt idx="7">
                  <c:v>2.0843824489038418</c:v>
                </c:pt>
                <c:pt idx="8">
                  <c:v>1.3874535637290126</c:v>
                </c:pt>
                <c:pt idx="9">
                  <c:v>1.0606184662803047</c:v>
                </c:pt>
                <c:pt idx="10">
                  <c:v>1.4010306724763357</c:v>
                </c:pt>
                <c:pt idx="11">
                  <c:v>1.500939785214487</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4.07</c:v>
                </c:pt>
                <c:pt idx="7">
                  <c:v>Av Price/Unit 5.21</c:v>
                </c:pt>
                <c:pt idx="8">
                  <c:v>Av Price/Unit 4.18</c:v>
                </c:pt>
                <c:pt idx="9">
                  <c:v>Av Price/Unit 2.43</c:v>
                </c:pt>
                <c:pt idx="10">
                  <c:v>Av Price/Unit 4.48</c:v>
                </c:pt>
                <c:pt idx="11">
                  <c:v>Av Price/Unit 3.26</c:v>
                </c:pt>
              </c:strCache>
            </c:strRef>
          </c:cat>
          <c:val>
            <c:numRef>
              <c:f>Sheet1!$D$2:$D$13</c:f>
              <c:numCache>
                <c:formatCode>General</c:formatCode>
                <c:ptCount val="12"/>
                <c:pt idx="0">
                  <c:v>1.3991118347919511</c:v>
                </c:pt>
                <c:pt idx="1">
                  <c:v>1.4402140900664686</c:v>
                </c:pt>
                <c:pt idx="2">
                  <c:v>0.93865931526322544</c:v>
                </c:pt>
                <c:pt idx="3">
                  <c:v>0.7903112930228986</c:v>
                </c:pt>
                <c:pt idx="4">
                  <c:v>1.3407924301939151</c:v>
                </c:pt>
                <c:pt idx="5">
                  <c:v>0.91136693461676654</c:v>
                </c:pt>
                <c:pt idx="6">
                  <c:v>1.2974200264572335</c:v>
                </c:pt>
                <c:pt idx="7">
                  <c:v>1.7209695258333655</c:v>
                </c:pt>
                <c:pt idx="8">
                  <c:v>1.4317887967864404</c:v>
                </c:pt>
                <c:pt idx="9">
                  <c:v>0.82266446394684589</c:v>
                </c:pt>
                <c:pt idx="10">
                  <c:v>1.738249145076582</c:v>
                </c:pt>
                <c:pt idx="11">
                  <c:v>1.152124103644953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4.07</c:v>
                </c:pt>
                <c:pt idx="7">
                  <c:v>Av Price/Unit 5.21</c:v>
                </c:pt>
                <c:pt idx="8">
                  <c:v>Av Price/Unit 4.18</c:v>
                </c:pt>
                <c:pt idx="9">
                  <c:v>Av Price/Unit 2.43</c:v>
                </c:pt>
                <c:pt idx="10">
                  <c:v>Av Price/Unit 4.48</c:v>
                </c:pt>
                <c:pt idx="11">
                  <c:v>Av Price/Unit 3.26</c:v>
                </c:pt>
              </c:strCache>
            </c:strRef>
          </c:cat>
          <c:val>
            <c:numRef>
              <c:f>Sheet1!$E$2:$E$13</c:f>
              <c:numCache>
                <c:formatCode>General</c:formatCode>
                <c:ptCount val="12"/>
                <c:pt idx="0">
                  <c:v>0.22993298583191574</c:v>
                </c:pt>
                <c:pt idx="1">
                  <c:v>0.24187398058043644</c:v>
                </c:pt>
                <c:pt idx="2">
                  <c:v>0.12979840224892567</c:v>
                </c:pt>
                <c:pt idx="3">
                  <c:v>0.12602619077197127</c:v>
                </c:pt>
                <c:pt idx="4">
                  <c:v>0.20588761794211949</c:v>
                </c:pt>
                <c:pt idx="5">
                  <c:v>0.15379090345391935</c:v>
                </c:pt>
                <c:pt idx="6">
                  <c:v>0.21221744630599432</c:v>
                </c:pt>
                <c:pt idx="7">
                  <c:v>0.27158786359143589</c:v>
                </c:pt>
                <c:pt idx="8">
                  <c:v>0.21785697989767183</c:v>
                </c:pt>
                <c:pt idx="9">
                  <c:v>0.12668731544877293</c:v>
                </c:pt>
                <c:pt idx="10">
                  <c:v>0.23346953253891842</c:v>
                </c:pt>
                <c:pt idx="11">
                  <c:v>0.1697677788138704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5.21</c:v>
                </c:pt>
                <c:pt idx="7">
                  <c:v>Av Price/Unit 2.21</c:v>
                </c:pt>
                <c:pt idx="8">
                  <c:v>Av Price/Unit 3.64</c:v>
                </c:pt>
                <c:pt idx="9">
                  <c:v>Av Price/Unit 2.37</c:v>
                </c:pt>
                <c:pt idx="10">
                  <c:v>Av Price/Unit 6.29</c:v>
                </c:pt>
                <c:pt idx="11">
                  <c:v>Av Price/Unit 2.40</c:v>
                </c:pt>
              </c:strCache>
            </c:strRef>
          </c:cat>
          <c:val>
            <c:numRef>
              <c:f>Sheet1!$B$2:$B$13</c:f>
              <c:numCache>
                <c:formatCode>General</c:formatCode>
                <c:ptCount val="12"/>
                <c:pt idx="0">
                  <c:v>1.0934819956160184</c:v>
                </c:pt>
                <c:pt idx="1">
                  <c:v>0.78152773524577102</c:v>
                </c:pt>
                <c:pt idx="2">
                  <c:v>0.56580556709380414</c:v>
                </c:pt>
                <c:pt idx="3">
                  <c:v>0.65947010055119304</c:v>
                </c:pt>
                <c:pt idx="4">
                  <c:v>0.75869120950827296</c:v>
                </c:pt>
                <c:pt idx="5">
                  <c:v>0.80823054354932211</c:v>
                </c:pt>
                <c:pt idx="6">
                  <c:v>1.1325946747246518</c:v>
                </c:pt>
                <c:pt idx="7">
                  <c:v>0.65689971538957304</c:v>
                </c:pt>
                <c:pt idx="8">
                  <c:v>0.91838600243808866</c:v>
                </c:pt>
                <c:pt idx="9">
                  <c:v>0.60218469281829257</c:v>
                </c:pt>
                <c:pt idx="10">
                  <c:v>0.69028270735393726</c:v>
                </c:pt>
                <c:pt idx="11">
                  <c:v>0.5260736485271563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5.21</c:v>
                </c:pt>
                <c:pt idx="7">
                  <c:v>Av Price/Unit 2.21</c:v>
                </c:pt>
                <c:pt idx="8">
                  <c:v>Av Price/Unit 3.64</c:v>
                </c:pt>
                <c:pt idx="9">
                  <c:v>Av Price/Unit 2.37</c:v>
                </c:pt>
                <c:pt idx="10">
                  <c:v>Av Price/Unit 6.29</c:v>
                </c:pt>
                <c:pt idx="11">
                  <c:v>Av Price/Unit 2.40</c:v>
                </c:pt>
              </c:strCache>
            </c:strRef>
          </c:cat>
          <c:val>
            <c:numRef>
              <c:f>Sheet1!$C$2:$C$13</c:f>
              <c:numCache>
                <c:formatCode>General</c:formatCode>
                <c:ptCount val="12"/>
                <c:pt idx="0">
                  <c:v>1.6880059119905082</c:v>
                </c:pt>
                <c:pt idx="1">
                  <c:v>2.1759592025361942</c:v>
                </c:pt>
                <c:pt idx="2">
                  <c:v>0.85550606762343218</c:v>
                </c:pt>
                <c:pt idx="3">
                  <c:v>0.84160389318903628</c:v>
                </c:pt>
                <c:pt idx="4">
                  <c:v>1.643927595609094</c:v>
                </c:pt>
                <c:pt idx="5">
                  <c:v>1.0765426830204361</c:v>
                </c:pt>
                <c:pt idx="6">
                  <c:v>2.0843824489038418</c:v>
                </c:pt>
                <c:pt idx="7">
                  <c:v>0.70831983836852475</c:v>
                </c:pt>
                <c:pt idx="8">
                  <c:v>1.2758195696096801</c:v>
                </c:pt>
                <c:pt idx="9">
                  <c:v>0.81602908669495089</c:v>
                </c:pt>
                <c:pt idx="10">
                  <c:v>2.7908180540309693</c:v>
                </c:pt>
                <c:pt idx="11">
                  <c:v>0.78439522978475873</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5.21</c:v>
                </c:pt>
                <c:pt idx="7">
                  <c:v>Av Price/Unit 2.21</c:v>
                </c:pt>
                <c:pt idx="8">
                  <c:v>Av Price/Unit 3.64</c:v>
                </c:pt>
                <c:pt idx="9">
                  <c:v>Av Price/Unit 2.37</c:v>
                </c:pt>
                <c:pt idx="10">
                  <c:v>Av Price/Unit 6.29</c:v>
                </c:pt>
                <c:pt idx="11">
                  <c:v>Av Price/Unit 2.40</c:v>
                </c:pt>
              </c:strCache>
            </c:strRef>
          </c:cat>
          <c:val>
            <c:numRef>
              <c:f>Sheet1!$D$2:$D$13</c:f>
              <c:numCache>
                <c:formatCode>General</c:formatCode>
                <c:ptCount val="12"/>
                <c:pt idx="0">
                  <c:v>1.3991118347919511</c:v>
                </c:pt>
                <c:pt idx="1">
                  <c:v>1.4402140900664686</c:v>
                </c:pt>
                <c:pt idx="2">
                  <c:v>0.93865931526322544</c:v>
                </c:pt>
                <c:pt idx="3">
                  <c:v>0.7903112930228986</c:v>
                </c:pt>
                <c:pt idx="4">
                  <c:v>1.3407924301939151</c:v>
                </c:pt>
                <c:pt idx="5">
                  <c:v>0.91136693461676654</c:v>
                </c:pt>
                <c:pt idx="6">
                  <c:v>1.7209695258333655</c:v>
                </c:pt>
                <c:pt idx="7">
                  <c:v>0.73314203111871601</c:v>
                </c:pt>
                <c:pt idx="8">
                  <c:v>1.2553609953713978</c:v>
                </c:pt>
                <c:pt idx="9">
                  <c:v>0.82704188777823129</c:v>
                </c:pt>
                <c:pt idx="10">
                  <c:v>2.4814117110837897</c:v>
                </c:pt>
                <c:pt idx="11">
                  <c:v>0.9650910617209875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5.21</c:v>
                </c:pt>
                <c:pt idx="7">
                  <c:v>Av Price/Unit 2.21</c:v>
                </c:pt>
                <c:pt idx="8">
                  <c:v>Av Price/Unit 3.64</c:v>
                </c:pt>
                <c:pt idx="9">
                  <c:v>Av Price/Unit 2.37</c:v>
                </c:pt>
                <c:pt idx="10">
                  <c:v>Av Price/Unit 6.29</c:v>
                </c:pt>
                <c:pt idx="11">
                  <c:v>Av Price/Unit 2.40</c:v>
                </c:pt>
              </c:strCache>
            </c:strRef>
          </c:cat>
          <c:val>
            <c:numRef>
              <c:f>Sheet1!$E$2:$E$13</c:f>
              <c:numCache>
                <c:formatCode>General</c:formatCode>
                <c:ptCount val="12"/>
                <c:pt idx="0">
                  <c:v>0.22993298583191574</c:v>
                </c:pt>
                <c:pt idx="1">
                  <c:v>0.24187398058043644</c:v>
                </c:pt>
                <c:pt idx="2">
                  <c:v>0.12979840224892567</c:v>
                </c:pt>
                <c:pt idx="3">
                  <c:v>0.12602619077197127</c:v>
                </c:pt>
                <c:pt idx="4">
                  <c:v>0.20588761794211949</c:v>
                </c:pt>
                <c:pt idx="5">
                  <c:v>0.15379090345391935</c:v>
                </c:pt>
                <c:pt idx="6">
                  <c:v>0.27158786359143589</c:v>
                </c:pt>
                <c:pt idx="7">
                  <c:v>0.1154066476566291</c:v>
                </c:pt>
                <c:pt idx="8">
                  <c:v>0.18972616120805397</c:v>
                </c:pt>
                <c:pt idx="9">
                  <c:v>0.12348906170103169</c:v>
                </c:pt>
                <c:pt idx="10">
                  <c:v>0.32793818598577901</c:v>
                </c:pt>
                <c:pt idx="11">
                  <c:v>0.1251525786971555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2.98</c:v>
                </c:pt>
                <c:pt idx="8">
                  <c:v>Av Price/Unit 2.30</c:v>
                </c:pt>
                <c:pt idx="9">
                  <c:v>Av Price/Unit 3.60</c:v>
                </c:pt>
                <c:pt idx="10">
                  <c:v>Av Price/Unit 2.28</c:v>
                </c:pt>
                <c:pt idx="11">
                  <c:v>Av Price/Unit 3.77</c:v>
                </c:pt>
              </c:strCache>
            </c:strRef>
          </c:cat>
          <c:val>
            <c:numRef>
              <c:f>Sheet1!$B$2:$B$13</c:f>
              <c:numCache>
                <c:formatCode>General</c:formatCode>
                <c:ptCount val="12"/>
                <c:pt idx="0">
                  <c:v>0.36657403774590719</c:v>
                </c:pt>
                <c:pt idx="1">
                  <c:v>0.9414277752519209</c:v>
                </c:pt>
                <c:pt idx="2">
                  <c:v>0.71686397773804722</c:v>
                </c:pt>
                <c:pt idx="3">
                  <c:v>0.71237720850370756</c:v>
                </c:pt>
                <c:pt idx="4">
                  <c:v>0.44768392936454532</c:v>
                </c:pt>
                <c:pt idx="5">
                  <c:v>0.68745099455136882</c:v>
                </c:pt>
                <c:pt idx="6">
                  <c:v>0.70532785966181388</c:v>
                </c:pt>
                <c:pt idx="7">
                  <c:v>0.89840014401087387</c:v>
                </c:pt>
                <c:pt idx="8">
                  <c:v>0.49149941700399163</c:v>
                </c:pt>
                <c:pt idx="9">
                  <c:v>0.98131117297386994</c:v>
                </c:pt>
                <c:pt idx="10">
                  <c:v>0.5932216801020419</c:v>
                </c:pt>
                <c:pt idx="11">
                  <c:v>0.4934424785252338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2.98</c:v>
                </c:pt>
                <c:pt idx="8">
                  <c:v>Av Price/Unit 2.30</c:v>
                </c:pt>
                <c:pt idx="9">
                  <c:v>Av Price/Unit 3.60</c:v>
                </c:pt>
                <c:pt idx="10">
                  <c:v>Av Price/Unit 2.28</c:v>
                </c:pt>
                <c:pt idx="11">
                  <c:v>Av Price/Unit 3.77</c:v>
                </c:pt>
              </c:strCache>
            </c:strRef>
          </c:cat>
          <c:val>
            <c:numRef>
              <c:f>Sheet1!$C$2:$C$13</c:f>
              <c:numCache>
                <c:formatCode>General</c:formatCode>
                <c:ptCount val="12"/>
                <c:pt idx="0">
                  <c:v>2.1789083844063493</c:v>
                </c:pt>
                <c:pt idx="1">
                  <c:v>1.686668683895669</c:v>
                </c:pt>
                <c:pt idx="2">
                  <c:v>0.84170541784416641</c:v>
                </c:pt>
                <c:pt idx="3">
                  <c:v>1.6505914267571786</c:v>
                </c:pt>
                <c:pt idx="4">
                  <c:v>2.0897984746469316</c:v>
                </c:pt>
                <c:pt idx="5">
                  <c:v>0.85576889978189818</c:v>
                </c:pt>
                <c:pt idx="6">
                  <c:v>0.70819500246478551</c:v>
                </c:pt>
                <c:pt idx="7">
                  <c:v>1.0753005760434948</c:v>
                </c:pt>
                <c:pt idx="8">
                  <c:v>0.817004039123856</c:v>
                </c:pt>
                <c:pt idx="9">
                  <c:v>1.2742234848558796</c:v>
                </c:pt>
                <c:pt idx="10">
                  <c:v>0.78526705574076816</c:v>
                </c:pt>
                <c:pt idx="11">
                  <c:v>2.170630685607271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2.98</c:v>
                </c:pt>
                <c:pt idx="8">
                  <c:v>Av Price/Unit 2.30</c:v>
                </c:pt>
                <c:pt idx="9">
                  <c:v>Av Price/Unit 3.60</c:v>
                </c:pt>
                <c:pt idx="10">
                  <c:v>Av Price/Unit 2.28</c:v>
                </c:pt>
                <c:pt idx="11">
                  <c:v>Av Price/Unit 3.77</c:v>
                </c:pt>
              </c:strCache>
            </c:strRef>
          </c:cat>
          <c:val>
            <c:numRef>
              <c:f>Sheet1!$D$2:$D$13</c:f>
              <c:numCache>
                <c:formatCode>General</c:formatCode>
                <c:ptCount val="12"/>
                <c:pt idx="0">
                  <c:v>1.1731560264618</c:v>
                </c:pt>
                <c:pt idx="1">
                  <c:v>0.99485249241917417</c:v>
                </c:pt>
                <c:pt idx="2">
                  <c:v>0.88019143313063819</c:v>
                </c:pt>
                <c:pt idx="3">
                  <c:v>1.1671085834761978</c:v>
                </c:pt>
                <c:pt idx="4">
                  <c:v>1.5513200319444214</c:v>
                </c:pt>
                <c:pt idx="5">
                  <c:v>1.0767429446469361</c:v>
                </c:pt>
                <c:pt idx="6">
                  <c:v>0.76295311781756636</c:v>
                </c:pt>
                <c:pt idx="7">
                  <c:v>0.85173917175321301</c:v>
                </c:pt>
                <c:pt idx="8">
                  <c:v>0.86836842405244052</c:v>
                </c:pt>
                <c:pt idx="9">
                  <c:v>1.1540341952706181</c:v>
                </c:pt>
                <c:pt idx="10">
                  <c:v>0.78440011977545643</c:v>
                </c:pt>
                <c:pt idx="11">
                  <c:v>0.9114434164906084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2.98</c:v>
                </c:pt>
                <c:pt idx="8">
                  <c:v>Av Price/Unit 2.30</c:v>
                </c:pt>
                <c:pt idx="9">
                  <c:v>Av Price/Unit 3.60</c:v>
                </c:pt>
                <c:pt idx="10">
                  <c:v>Av Price/Unit 2.28</c:v>
                </c:pt>
                <c:pt idx="11">
                  <c:v>Av Price/Unit 3.77</c:v>
                </c:pt>
              </c:strCache>
            </c:strRef>
          </c:cat>
          <c:val>
            <c:numRef>
              <c:f>Sheet1!$E$2:$E$13</c:f>
              <c:numCache>
                <c:formatCode>General</c:formatCode>
                <c:ptCount val="12"/>
                <c:pt idx="0">
                  <c:v>0.20452290182866684</c:v>
                </c:pt>
                <c:pt idx="1">
                  <c:v>0.19926219233617193</c:v>
                </c:pt>
                <c:pt idx="2">
                  <c:v>0.1341331276860179</c:v>
                </c:pt>
                <c:pt idx="3">
                  <c:v>0.19415424703053977</c:v>
                </c:pt>
                <c:pt idx="4">
                  <c:v>0.2248866866391093</c:v>
                </c:pt>
                <c:pt idx="5">
                  <c:v>0.14410028671414302</c:v>
                </c:pt>
                <c:pt idx="6">
                  <c:v>0.11970617889692811</c:v>
                </c:pt>
                <c:pt idx="7">
                  <c:v>0.15540245689552826</c:v>
                </c:pt>
                <c:pt idx="8">
                  <c:v>0.11972795340991524</c:v>
                </c:pt>
                <c:pt idx="9">
                  <c:v>0.18752628692052045</c:v>
                </c:pt>
                <c:pt idx="10">
                  <c:v>0.11895888705900444</c:v>
                </c:pt>
                <c:pt idx="11">
                  <c:v>0.1966534119342707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4.46</c:v>
                </c:pt>
                <c:pt idx="8">
                  <c:v>Av Price/Unit 2.98</c:v>
                </c:pt>
                <c:pt idx="9">
                  <c:v>Av Price/Unit 2.29</c:v>
                </c:pt>
                <c:pt idx="10">
                  <c:v>Av Price/Unit 2.58</c:v>
                </c:pt>
                <c:pt idx="11">
                  <c:v>Av Price/Unit 4.43</c:v>
                </c:pt>
              </c:strCache>
            </c:strRef>
          </c:cat>
          <c:val>
            <c:numRef>
              <c:f>Sheet1!$B$2:$B$13</c:f>
              <c:numCache>
                <c:formatCode>General</c:formatCode>
                <c:ptCount val="12"/>
                <c:pt idx="0">
                  <c:v>0.36657403774590719</c:v>
                </c:pt>
                <c:pt idx="1">
                  <c:v>0.9414277752519209</c:v>
                </c:pt>
                <c:pt idx="2">
                  <c:v>0.71686397773804722</c:v>
                </c:pt>
                <c:pt idx="3">
                  <c:v>0.71237720850370756</c:v>
                </c:pt>
                <c:pt idx="4">
                  <c:v>0.44768392936454532</c:v>
                </c:pt>
                <c:pt idx="5">
                  <c:v>0.68745099455136882</c:v>
                </c:pt>
                <c:pt idx="6">
                  <c:v>0.70532785966181388</c:v>
                </c:pt>
                <c:pt idx="7">
                  <c:v>1.132726481450782</c:v>
                </c:pt>
                <c:pt idx="8">
                  <c:v>0.89840014401087387</c:v>
                </c:pt>
                <c:pt idx="9">
                  <c:v>0.52949882280513305</c:v>
                </c:pt>
                <c:pt idx="10">
                  <c:v>0.52897620446062821</c:v>
                </c:pt>
                <c:pt idx="11">
                  <c:v>1.124950864903824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4.46</c:v>
                </c:pt>
                <c:pt idx="8">
                  <c:v>Av Price/Unit 2.98</c:v>
                </c:pt>
                <c:pt idx="9">
                  <c:v>Av Price/Unit 2.29</c:v>
                </c:pt>
                <c:pt idx="10">
                  <c:v>Av Price/Unit 2.58</c:v>
                </c:pt>
                <c:pt idx="11">
                  <c:v>Av Price/Unit 4.43</c:v>
                </c:pt>
              </c:strCache>
            </c:strRef>
          </c:cat>
          <c:val>
            <c:numRef>
              <c:f>Sheet1!$C$2:$C$13</c:f>
              <c:numCache>
                <c:formatCode>General</c:formatCode>
                <c:ptCount val="12"/>
                <c:pt idx="0">
                  <c:v>2.1789083844063493</c:v>
                </c:pt>
                <c:pt idx="1">
                  <c:v>1.686668683895669</c:v>
                </c:pt>
                <c:pt idx="2">
                  <c:v>0.84170541784416641</c:v>
                </c:pt>
                <c:pt idx="3">
                  <c:v>1.6505914267571786</c:v>
                </c:pt>
                <c:pt idx="4">
                  <c:v>2.0897984746469316</c:v>
                </c:pt>
                <c:pt idx="5">
                  <c:v>0.85576889978189818</c:v>
                </c:pt>
                <c:pt idx="6">
                  <c:v>0.70819500246478551</c:v>
                </c:pt>
                <c:pt idx="7">
                  <c:v>1.4190291369299308</c:v>
                </c:pt>
                <c:pt idx="8">
                  <c:v>1.0753005760434948</c:v>
                </c:pt>
                <c:pt idx="9">
                  <c:v>0.89925968279527502</c:v>
                </c:pt>
                <c:pt idx="10">
                  <c:v>1.0629143262898952</c:v>
                </c:pt>
                <c:pt idx="11">
                  <c:v>1.392024320915356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4.46</c:v>
                </c:pt>
                <c:pt idx="8">
                  <c:v>Av Price/Unit 2.98</c:v>
                </c:pt>
                <c:pt idx="9">
                  <c:v>Av Price/Unit 2.29</c:v>
                </c:pt>
                <c:pt idx="10">
                  <c:v>Av Price/Unit 2.58</c:v>
                </c:pt>
                <c:pt idx="11">
                  <c:v>Av Price/Unit 4.43</c:v>
                </c:pt>
              </c:strCache>
            </c:strRef>
          </c:cat>
          <c:val>
            <c:numRef>
              <c:f>Sheet1!$D$2:$D$13</c:f>
              <c:numCache>
                <c:formatCode>General</c:formatCode>
                <c:ptCount val="12"/>
                <c:pt idx="0">
                  <c:v>1.1731560264618</c:v>
                </c:pt>
                <c:pt idx="1">
                  <c:v>0.99485249241917417</c:v>
                </c:pt>
                <c:pt idx="2">
                  <c:v>0.88019143313063819</c:v>
                </c:pt>
                <c:pt idx="3">
                  <c:v>1.1671085834761978</c:v>
                </c:pt>
                <c:pt idx="4">
                  <c:v>1.5513200319444214</c:v>
                </c:pt>
                <c:pt idx="5">
                  <c:v>1.0767429446469361</c:v>
                </c:pt>
                <c:pt idx="6">
                  <c:v>0.76295311781756636</c:v>
                </c:pt>
                <c:pt idx="7">
                  <c:v>1.6785474762346713</c:v>
                </c:pt>
                <c:pt idx="8">
                  <c:v>0.85173917175321301</c:v>
                </c:pt>
                <c:pt idx="9">
                  <c:v>0.74344564266131496</c:v>
                </c:pt>
                <c:pt idx="10">
                  <c:v>0.85060663013449256</c:v>
                </c:pt>
                <c:pt idx="11">
                  <c:v>1.67953576053682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4.46</c:v>
                </c:pt>
                <c:pt idx="8">
                  <c:v>Av Price/Unit 2.98</c:v>
                </c:pt>
                <c:pt idx="9">
                  <c:v>Av Price/Unit 2.29</c:v>
                </c:pt>
                <c:pt idx="10">
                  <c:v>Av Price/Unit 2.58</c:v>
                </c:pt>
                <c:pt idx="11">
                  <c:v>Av Price/Unit 4.43</c:v>
                </c:pt>
              </c:strCache>
            </c:strRef>
          </c:cat>
          <c:val>
            <c:numRef>
              <c:f>Sheet1!$E$2:$E$13</c:f>
              <c:numCache>
                <c:formatCode>General</c:formatCode>
                <c:ptCount val="12"/>
                <c:pt idx="0">
                  <c:v>0.20452290182866684</c:v>
                </c:pt>
                <c:pt idx="1">
                  <c:v>0.19926219233617193</c:v>
                </c:pt>
                <c:pt idx="2">
                  <c:v>0.1341331276860179</c:v>
                </c:pt>
                <c:pt idx="3">
                  <c:v>0.19415424703053977</c:v>
                </c:pt>
                <c:pt idx="4">
                  <c:v>0.2248866866391093</c:v>
                </c:pt>
                <c:pt idx="5">
                  <c:v>0.14410028671414302</c:v>
                </c:pt>
                <c:pt idx="6">
                  <c:v>0.11970617889692811</c:v>
                </c:pt>
                <c:pt idx="7">
                  <c:v>0.23266431808399507</c:v>
                </c:pt>
                <c:pt idx="8">
                  <c:v>0.15540245689552826</c:v>
                </c:pt>
                <c:pt idx="9">
                  <c:v>0.11947672815439424</c:v>
                </c:pt>
                <c:pt idx="10">
                  <c:v>0.13433734384867543</c:v>
                </c:pt>
                <c:pt idx="11">
                  <c:v>0.2308081020495802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6</c:v>
                </c:pt>
                <c:pt idx="1">
                  <c:v>Av Price/Unit 4.43</c:v>
                </c:pt>
                <c:pt idx="2">
                  <c:v>Av Price/Unit 4.68</c:v>
                </c:pt>
                <c:pt idx="3">
                  <c:v>Av Price/Unit 3.52</c:v>
                </c:pt>
                <c:pt idx="4">
                  <c:v>Av Price/Unit 4.38</c:v>
                </c:pt>
                <c:pt idx="5">
                  <c:v>Av Price/Unit 2.12</c:v>
                </c:pt>
                <c:pt idx="6">
                  <c:v>Av Price/Unit 4.28</c:v>
                </c:pt>
                <c:pt idx="7">
                  <c:v>Av Price/Unit 4.23</c:v>
                </c:pt>
                <c:pt idx="8">
                  <c:v>Av Price/Unit 3.37</c:v>
                </c:pt>
                <c:pt idx="9">
                  <c:v>Av Price/Unit 2.42</c:v>
                </c:pt>
                <c:pt idx="10">
                  <c:v>Av Price/Unit 2.53</c:v>
                </c:pt>
                <c:pt idx="11">
                  <c:v>Av Price/Unit 4.26</c:v>
                </c:pt>
              </c:strCache>
            </c:strRef>
          </c:cat>
          <c:val>
            <c:numRef>
              <c:f>Sheet1!$B$2:$B$13</c:f>
              <c:numCache>
                <c:formatCode>General</c:formatCode>
                <c:ptCount val="12"/>
                <c:pt idx="0">
                  <c:v>1.132726481450782</c:v>
                </c:pt>
                <c:pt idx="1">
                  <c:v>1.1249508649038245</c:v>
                </c:pt>
                <c:pt idx="2">
                  <c:v>1.0815856883378232</c:v>
                </c:pt>
                <c:pt idx="3">
                  <c:v>0.76064090430809017</c:v>
                </c:pt>
                <c:pt idx="4">
                  <c:v>1.1122938269356655</c:v>
                </c:pt>
                <c:pt idx="5">
                  <c:v>0.67828332489537824</c:v>
                </c:pt>
                <c:pt idx="6">
                  <c:v>0.87673566503243339</c:v>
                </c:pt>
                <c:pt idx="7">
                  <c:v>1.0821615674287244</c:v>
                </c:pt>
                <c:pt idx="8">
                  <c:v>0.71030432902177276</c:v>
                </c:pt>
                <c:pt idx="9">
                  <c:v>0.64391131828121628</c:v>
                </c:pt>
                <c:pt idx="10">
                  <c:v>0.62628269496726563</c:v>
                </c:pt>
                <c:pt idx="11">
                  <c:v>0.718270380446771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6</c:v>
                </c:pt>
                <c:pt idx="1">
                  <c:v>Av Price/Unit 4.43</c:v>
                </c:pt>
                <c:pt idx="2">
                  <c:v>Av Price/Unit 4.68</c:v>
                </c:pt>
                <c:pt idx="3">
                  <c:v>Av Price/Unit 3.52</c:v>
                </c:pt>
                <c:pt idx="4">
                  <c:v>Av Price/Unit 4.38</c:v>
                </c:pt>
                <c:pt idx="5">
                  <c:v>Av Price/Unit 2.12</c:v>
                </c:pt>
                <c:pt idx="6">
                  <c:v>Av Price/Unit 4.28</c:v>
                </c:pt>
                <c:pt idx="7">
                  <c:v>Av Price/Unit 4.23</c:v>
                </c:pt>
                <c:pt idx="8">
                  <c:v>Av Price/Unit 3.37</c:v>
                </c:pt>
                <c:pt idx="9">
                  <c:v>Av Price/Unit 2.42</c:v>
                </c:pt>
                <c:pt idx="10">
                  <c:v>Av Price/Unit 2.53</c:v>
                </c:pt>
                <c:pt idx="11">
                  <c:v>Av Price/Unit 4.26</c:v>
                </c:pt>
              </c:strCache>
            </c:strRef>
          </c:cat>
          <c:val>
            <c:numRef>
              <c:f>Sheet1!$C$2:$C$13</c:f>
              <c:numCache>
                <c:formatCode>General</c:formatCode>
                <c:ptCount val="12"/>
                <c:pt idx="0">
                  <c:v>1.4190291369299308</c:v>
                </c:pt>
                <c:pt idx="1">
                  <c:v>1.3920243209153564</c:v>
                </c:pt>
                <c:pt idx="2">
                  <c:v>1.4024218734158604</c:v>
                </c:pt>
                <c:pt idx="3">
                  <c:v>1.3839067793043325</c:v>
                </c:pt>
                <c:pt idx="4">
                  <c:v>1.4441270006349269</c:v>
                </c:pt>
                <c:pt idx="5">
                  <c:v>0.67192849183223891</c:v>
                </c:pt>
                <c:pt idx="6">
                  <c:v>1.4545412187002609</c:v>
                </c:pt>
                <c:pt idx="7">
                  <c:v>1.3943330524529571</c:v>
                </c:pt>
                <c:pt idx="8">
                  <c:v>1.3755382533478397</c:v>
                </c:pt>
                <c:pt idx="9">
                  <c:v>0.73471271130891713</c:v>
                </c:pt>
                <c:pt idx="10">
                  <c:v>0.75784740706446574</c:v>
                </c:pt>
                <c:pt idx="11">
                  <c:v>1.41641470609861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6</c:v>
                </c:pt>
                <c:pt idx="1">
                  <c:v>Av Price/Unit 4.43</c:v>
                </c:pt>
                <c:pt idx="2">
                  <c:v>Av Price/Unit 4.68</c:v>
                </c:pt>
                <c:pt idx="3">
                  <c:v>Av Price/Unit 3.52</c:v>
                </c:pt>
                <c:pt idx="4">
                  <c:v>Av Price/Unit 4.38</c:v>
                </c:pt>
                <c:pt idx="5">
                  <c:v>Av Price/Unit 2.12</c:v>
                </c:pt>
                <c:pt idx="6">
                  <c:v>Av Price/Unit 4.28</c:v>
                </c:pt>
                <c:pt idx="7">
                  <c:v>Av Price/Unit 4.23</c:v>
                </c:pt>
                <c:pt idx="8">
                  <c:v>Av Price/Unit 3.37</c:v>
                </c:pt>
                <c:pt idx="9">
                  <c:v>Av Price/Unit 2.42</c:v>
                </c:pt>
                <c:pt idx="10">
                  <c:v>Av Price/Unit 2.53</c:v>
                </c:pt>
                <c:pt idx="11">
                  <c:v>Av Price/Unit 4.26</c:v>
                </c:pt>
              </c:strCache>
            </c:strRef>
          </c:cat>
          <c:val>
            <c:numRef>
              <c:f>Sheet1!$D$2:$D$13</c:f>
              <c:numCache>
                <c:formatCode>General</c:formatCode>
                <c:ptCount val="12"/>
                <c:pt idx="0">
                  <c:v>1.6785474762346713</c:v>
                </c:pt>
                <c:pt idx="1">
                  <c:v>1.679535760536822</c:v>
                </c:pt>
                <c:pt idx="2">
                  <c:v>1.9524958840173006</c:v>
                </c:pt>
                <c:pt idx="3">
                  <c:v>1.1879625860423317</c:v>
                </c:pt>
                <c:pt idx="4">
                  <c:v>1.5982762772687149</c:v>
                </c:pt>
                <c:pt idx="5">
                  <c:v>0.65863877018162986</c:v>
                </c:pt>
                <c:pt idx="6">
                  <c:v>1.7250242306035313</c:v>
                </c:pt>
                <c:pt idx="7">
                  <c:v>1.5359136759888479</c:v>
                </c:pt>
                <c:pt idx="8">
                  <c:v>1.107517012073401</c:v>
                </c:pt>
                <c:pt idx="9">
                  <c:v>0.91156928188559161</c:v>
                </c:pt>
                <c:pt idx="10">
                  <c:v>1.0106839678258368</c:v>
                </c:pt>
                <c:pt idx="11">
                  <c:v>1.900240898682484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6</c:v>
                </c:pt>
                <c:pt idx="1">
                  <c:v>Av Price/Unit 4.43</c:v>
                </c:pt>
                <c:pt idx="2">
                  <c:v>Av Price/Unit 4.68</c:v>
                </c:pt>
                <c:pt idx="3">
                  <c:v>Av Price/Unit 3.52</c:v>
                </c:pt>
                <c:pt idx="4">
                  <c:v>Av Price/Unit 4.38</c:v>
                </c:pt>
                <c:pt idx="5">
                  <c:v>Av Price/Unit 2.12</c:v>
                </c:pt>
                <c:pt idx="6">
                  <c:v>Av Price/Unit 4.28</c:v>
                </c:pt>
                <c:pt idx="7">
                  <c:v>Av Price/Unit 4.23</c:v>
                </c:pt>
                <c:pt idx="8">
                  <c:v>Av Price/Unit 3.37</c:v>
                </c:pt>
                <c:pt idx="9">
                  <c:v>Av Price/Unit 2.42</c:v>
                </c:pt>
                <c:pt idx="10">
                  <c:v>Av Price/Unit 2.53</c:v>
                </c:pt>
                <c:pt idx="11">
                  <c:v>Av Price/Unit 4.26</c:v>
                </c:pt>
              </c:strCache>
            </c:strRef>
          </c:cat>
          <c:val>
            <c:numRef>
              <c:f>Sheet1!$E$2:$E$13</c:f>
              <c:numCache>
                <c:formatCode>General</c:formatCode>
                <c:ptCount val="12"/>
                <c:pt idx="0">
                  <c:v>0.23266431808399507</c:v>
                </c:pt>
                <c:pt idx="1">
                  <c:v>0.23080810204958024</c:v>
                </c:pt>
                <c:pt idx="2">
                  <c:v>0.24400469473443906</c:v>
                </c:pt>
                <c:pt idx="3">
                  <c:v>0.18328806483101157</c:v>
                </c:pt>
                <c:pt idx="4">
                  <c:v>0.22850834076616136</c:v>
                </c:pt>
                <c:pt idx="5">
                  <c:v>0.11048678228000894</c:v>
                </c:pt>
                <c:pt idx="6">
                  <c:v>0.2230965612884917</c:v>
                </c:pt>
                <c:pt idx="7">
                  <c:v>0.22067969213491001</c:v>
                </c:pt>
                <c:pt idx="8">
                  <c:v>0.17563477769436556</c:v>
                </c:pt>
                <c:pt idx="9">
                  <c:v>0.12596063213116451</c:v>
                </c:pt>
                <c:pt idx="10">
                  <c:v>0.13171477384216565</c:v>
                </c:pt>
                <c:pt idx="11">
                  <c:v>0.22192092918753267</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5.21</c:v>
                </c:pt>
                <c:pt idx="7">
                  <c:v>Av Price/Unit 2.43</c:v>
                </c:pt>
                <c:pt idx="8">
                  <c:v>Av Price/Unit 3.26</c:v>
                </c:pt>
                <c:pt idx="9">
                  <c:v>Av Price/Unit 2.21</c:v>
                </c:pt>
                <c:pt idx="10">
                  <c:v>Av Price/Unit 3.64</c:v>
                </c:pt>
                <c:pt idx="11">
                  <c:v>Av Price/Unit 2.19</c:v>
                </c:pt>
              </c:strCache>
            </c:strRef>
          </c:cat>
          <c:val>
            <c:numRef>
              <c:f>Sheet1!$B$2:$B$13</c:f>
              <c:numCache>
                <c:formatCode>General</c:formatCode>
                <c:ptCount val="12"/>
                <c:pt idx="0">
                  <c:v>1.0934819956160184</c:v>
                </c:pt>
                <c:pt idx="1">
                  <c:v>0.78152773524577102</c:v>
                </c:pt>
                <c:pt idx="2">
                  <c:v>0.56580556709380414</c:v>
                </c:pt>
                <c:pt idx="3">
                  <c:v>0.65947010055119304</c:v>
                </c:pt>
                <c:pt idx="4">
                  <c:v>0.75869120950827296</c:v>
                </c:pt>
                <c:pt idx="5">
                  <c:v>0.80823054354932211</c:v>
                </c:pt>
                <c:pt idx="6">
                  <c:v>1.1325946747246518</c:v>
                </c:pt>
                <c:pt idx="7">
                  <c:v>0.42012280520508982</c:v>
                </c:pt>
                <c:pt idx="8">
                  <c:v>0.433677487269715</c:v>
                </c:pt>
                <c:pt idx="9">
                  <c:v>0.65689971538957304</c:v>
                </c:pt>
                <c:pt idx="10">
                  <c:v>0.91838600243808866</c:v>
                </c:pt>
                <c:pt idx="11">
                  <c:v>0.4232745535770004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5.21</c:v>
                </c:pt>
                <c:pt idx="7">
                  <c:v>Av Price/Unit 2.43</c:v>
                </c:pt>
                <c:pt idx="8">
                  <c:v>Av Price/Unit 3.26</c:v>
                </c:pt>
                <c:pt idx="9">
                  <c:v>Av Price/Unit 2.21</c:v>
                </c:pt>
                <c:pt idx="10">
                  <c:v>Av Price/Unit 3.64</c:v>
                </c:pt>
                <c:pt idx="11">
                  <c:v>Av Price/Unit 2.19</c:v>
                </c:pt>
              </c:strCache>
            </c:strRef>
          </c:cat>
          <c:val>
            <c:numRef>
              <c:f>Sheet1!$C$2:$C$13</c:f>
              <c:numCache>
                <c:formatCode>General</c:formatCode>
                <c:ptCount val="12"/>
                <c:pt idx="0">
                  <c:v>1.6880059119905082</c:v>
                </c:pt>
                <c:pt idx="1">
                  <c:v>2.1759592025361942</c:v>
                </c:pt>
                <c:pt idx="2">
                  <c:v>0.85550606762343218</c:v>
                </c:pt>
                <c:pt idx="3">
                  <c:v>0.84160389318903628</c:v>
                </c:pt>
                <c:pt idx="4">
                  <c:v>1.643927595609094</c:v>
                </c:pt>
                <c:pt idx="5">
                  <c:v>1.0765426830204361</c:v>
                </c:pt>
                <c:pt idx="6">
                  <c:v>2.0843824489038418</c:v>
                </c:pt>
                <c:pt idx="7">
                  <c:v>1.0606184662803047</c:v>
                </c:pt>
                <c:pt idx="8">
                  <c:v>1.500939785214487</c:v>
                </c:pt>
                <c:pt idx="9">
                  <c:v>0.70831983836852475</c:v>
                </c:pt>
                <c:pt idx="10">
                  <c:v>1.2758195696096801</c:v>
                </c:pt>
                <c:pt idx="11">
                  <c:v>0.8990520709747934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5.21</c:v>
                </c:pt>
                <c:pt idx="7">
                  <c:v>Av Price/Unit 2.43</c:v>
                </c:pt>
                <c:pt idx="8">
                  <c:v>Av Price/Unit 3.26</c:v>
                </c:pt>
                <c:pt idx="9">
                  <c:v>Av Price/Unit 2.21</c:v>
                </c:pt>
                <c:pt idx="10">
                  <c:v>Av Price/Unit 3.64</c:v>
                </c:pt>
                <c:pt idx="11">
                  <c:v>Av Price/Unit 2.19</c:v>
                </c:pt>
              </c:strCache>
            </c:strRef>
          </c:cat>
          <c:val>
            <c:numRef>
              <c:f>Sheet1!$D$2:$D$13</c:f>
              <c:numCache>
                <c:formatCode>General</c:formatCode>
                <c:ptCount val="12"/>
                <c:pt idx="0">
                  <c:v>1.3991118347919511</c:v>
                </c:pt>
                <c:pt idx="1">
                  <c:v>1.4402140900664686</c:v>
                </c:pt>
                <c:pt idx="2">
                  <c:v>0.93865931526322544</c:v>
                </c:pt>
                <c:pt idx="3">
                  <c:v>0.7903112930228986</c:v>
                </c:pt>
                <c:pt idx="4">
                  <c:v>1.3407924301939151</c:v>
                </c:pt>
                <c:pt idx="5">
                  <c:v>0.91136693461676654</c:v>
                </c:pt>
                <c:pt idx="6">
                  <c:v>1.7209695258333655</c:v>
                </c:pt>
                <c:pt idx="7">
                  <c:v>0.82266446394684589</c:v>
                </c:pt>
                <c:pt idx="8">
                  <c:v>1.1521241036449539</c:v>
                </c:pt>
                <c:pt idx="9">
                  <c:v>0.73314203111871601</c:v>
                </c:pt>
                <c:pt idx="10">
                  <c:v>1.2553609953713978</c:v>
                </c:pt>
                <c:pt idx="11">
                  <c:v>0.7487960495262078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4.41</c:v>
                </c:pt>
                <c:pt idx="1">
                  <c:v>Av Price/Unit 4.64</c:v>
                </c:pt>
                <c:pt idx="2">
                  <c:v>Av Price/Unit 2.49</c:v>
                </c:pt>
                <c:pt idx="3">
                  <c:v>Av Price/Unit 2.42</c:v>
                </c:pt>
                <c:pt idx="4">
                  <c:v>Av Price/Unit 3.95</c:v>
                </c:pt>
                <c:pt idx="5">
                  <c:v>Av Price/Unit 2.95</c:v>
                </c:pt>
                <c:pt idx="6">
                  <c:v>Av Price/Unit 5.21</c:v>
                </c:pt>
                <c:pt idx="7">
                  <c:v>Av Price/Unit 2.43</c:v>
                </c:pt>
                <c:pt idx="8">
                  <c:v>Av Price/Unit 3.26</c:v>
                </c:pt>
                <c:pt idx="9">
                  <c:v>Av Price/Unit 2.21</c:v>
                </c:pt>
                <c:pt idx="10">
                  <c:v>Av Price/Unit 3.64</c:v>
                </c:pt>
                <c:pt idx="11">
                  <c:v>Av Price/Unit 2.19</c:v>
                </c:pt>
              </c:strCache>
            </c:strRef>
          </c:cat>
          <c:val>
            <c:numRef>
              <c:f>Sheet1!$E$2:$E$13</c:f>
              <c:numCache>
                <c:formatCode>General</c:formatCode>
                <c:ptCount val="12"/>
                <c:pt idx="0">
                  <c:v>0.22993298583191574</c:v>
                </c:pt>
                <c:pt idx="1">
                  <c:v>0.24187398058043644</c:v>
                </c:pt>
                <c:pt idx="2">
                  <c:v>0.12979840224892567</c:v>
                </c:pt>
                <c:pt idx="3">
                  <c:v>0.12602619077197127</c:v>
                </c:pt>
                <c:pt idx="4">
                  <c:v>0.20588761794211949</c:v>
                </c:pt>
                <c:pt idx="5">
                  <c:v>0.15379090345391935</c:v>
                </c:pt>
                <c:pt idx="6">
                  <c:v>0.27158786359143589</c:v>
                </c:pt>
                <c:pt idx="7">
                  <c:v>0.12668731544877293</c:v>
                </c:pt>
                <c:pt idx="8">
                  <c:v>0.16976777881387045</c:v>
                </c:pt>
                <c:pt idx="9">
                  <c:v>0.1154066476566291</c:v>
                </c:pt>
                <c:pt idx="10">
                  <c:v>0.18972616120805397</c:v>
                </c:pt>
                <c:pt idx="11">
                  <c:v>0.1139117470742905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2.98</c:v>
                </c:pt>
                <c:pt idx="8">
                  <c:v>Av Price/Unit 2.29</c:v>
                </c:pt>
                <c:pt idx="9">
                  <c:v>Av Price/Unit 2.58</c:v>
                </c:pt>
                <c:pt idx="10">
                  <c:v>Av Price/Unit 2.30</c:v>
                </c:pt>
                <c:pt idx="11">
                  <c:v>Av Price/Unit 3.42</c:v>
                </c:pt>
              </c:strCache>
            </c:strRef>
          </c:cat>
          <c:val>
            <c:numRef>
              <c:f>Sheet1!$B$2:$B$13</c:f>
              <c:numCache>
                <c:formatCode>General</c:formatCode>
                <c:ptCount val="12"/>
                <c:pt idx="0">
                  <c:v>0.36657403774590719</c:v>
                </c:pt>
                <c:pt idx="1">
                  <c:v>0.9414277752519209</c:v>
                </c:pt>
                <c:pt idx="2">
                  <c:v>0.71686397773804722</c:v>
                </c:pt>
                <c:pt idx="3">
                  <c:v>0.71237720850370756</c:v>
                </c:pt>
                <c:pt idx="4">
                  <c:v>0.44768392936454532</c:v>
                </c:pt>
                <c:pt idx="5">
                  <c:v>0.68745099455136882</c:v>
                </c:pt>
                <c:pt idx="6">
                  <c:v>0.70532785966181388</c:v>
                </c:pt>
                <c:pt idx="7">
                  <c:v>0.89840014401087387</c:v>
                </c:pt>
                <c:pt idx="8">
                  <c:v>0.52949882280513305</c:v>
                </c:pt>
                <c:pt idx="9">
                  <c:v>0.52897620446062821</c:v>
                </c:pt>
                <c:pt idx="10">
                  <c:v>0.49149941700399163</c:v>
                </c:pt>
                <c:pt idx="11">
                  <c:v>0.6402458355750595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2.98</c:v>
                </c:pt>
                <c:pt idx="8">
                  <c:v>Av Price/Unit 2.29</c:v>
                </c:pt>
                <c:pt idx="9">
                  <c:v>Av Price/Unit 2.58</c:v>
                </c:pt>
                <c:pt idx="10">
                  <c:v>Av Price/Unit 2.30</c:v>
                </c:pt>
                <c:pt idx="11">
                  <c:v>Av Price/Unit 3.42</c:v>
                </c:pt>
              </c:strCache>
            </c:strRef>
          </c:cat>
          <c:val>
            <c:numRef>
              <c:f>Sheet1!$C$2:$C$13</c:f>
              <c:numCache>
                <c:formatCode>General</c:formatCode>
                <c:ptCount val="12"/>
                <c:pt idx="0">
                  <c:v>2.1789083844063493</c:v>
                </c:pt>
                <c:pt idx="1">
                  <c:v>1.686668683895669</c:v>
                </c:pt>
                <c:pt idx="2">
                  <c:v>0.84170541784416641</c:v>
                </c:pt>
                <c:pt idx="3">
                  <c:v>1.6505914267571786</c:v>
                </c:pt>
                <c:pt idx="4">
                  <c:v>2.0897984746469316</c:v>
                </c:pt>
                <c:pt idx="5">
                  <c:v>0.85576889978189818</c:v>
                </c:pt>
                <c:pt idx="6">
                  <c:v>0.70819500246478551</c:v>
                </c:pt>
                <c:pt idx="7">
                  <c:v>1.0753005760434948</c:v>
                </c:pt>
                <c:pt idx="8">
                  <c:v>0.89925968279527502</c:v>
                </c:pt>
                <c:pt idx="9">
                  <c:v>1.0629143262898952</c:v>
                </c:pt>
                <c:pt idx="10">
                  <c:v>0.817004039123856</c:v>
                </c:pt>
                <c:pt idx="11">
                  <c:v>1.501728533230484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2.98</c:v>
                </c:pt>
                <c:pt idx="8">
                  <c:v>Av Price/Unit 2.29</c:v>
                </c:pt>
                <c:pt idx="9">
                  <c:v>Av Price/Unit 2.58</c:v>
                </c:pt>
                <c:pt idx="10">
                  <c:v>Av Price/Unit 2.30</c:v>
                </c:pt>
                <c:pt idx="11">
                  <c:v>Av Price/Unit 3.42</c:v>
                </c:pt>
              </c:strCache>
            </c:strRef>
          </c:cat>
          <c:val>
            <c:numRef>
              <c:f>Sheet1!$D$2:$D$13</c:f>
              <c:numCache>
                <c:formatCode>General</c:formatCode>
                <c:ptCount val="12"/>
                <c:pt idx="0">
                  <c:v>1.1731560264618</c:v>
                </c:pt>
                <c:pt idx="1">
                  <c:v>0.99485249241917417</c:v>
                </c:pt>
                <c:pt idx="2">
                  <c:v>0.88019143313063819</c:v>
                </c:pt>
                <c:pt idx="3">
                  <c:v>1.1671085834761978</c:v>
                </c:pt>
                <c:pt idx="4">
                  <c:v>1.5513200319444214</c:v>
                </c:pt>
                <c:pt idx="5">
                  <c:v>1.0767429446469361</c:v>
                </c:pt>
                <c:pt idx="6">
                  <c:v>0.76295311781756636</c:v>
                </c:pt>
                <c:pt idx="7">
                  <c:v>0.85173917175321301</c:v>
                </c:pt>
                <c:pt idx="8">
                  <c:v>0.74344564266131496</c:v>
                </c:pt>
                <c:pt idx="9">
                  <c:v>0.85060663013449256</c:v>
                </c:pt>
                <c:pt idx="10">
                  <c:v>0.86836842405244052</c:v>
                </c:pt>
                <c:pt idx="11">
                  <c:v>1.099717300899159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82</c:v>
                </c:pt>
                <c:pt idx="2">
                  <c:v>Av Price/Unit 2.57</c:v>
                </c:pt>
                <c:pt idx="3">
                  <c:v>Av Price/Unit 3.72</c:v>
                </c:pt>
                <c:pt idx="4">
                  <c:v>Av Price/Unit 4.31</c:v>
                </c:pt>
                <c:pt idx="5">
                  <c:v>Av Price/Unit 2.76</c:v>
                </c:pt>
                <c:pt idx="6">
                  <c:v>Av Price/Unit 2.30</c:v>
                </c:pt>
                <c:pt idx="7">
                  <c:v>Av Price/Unit 2.98</c:v>
                </c:pt>
                <c:pt idx="8">
                  <c:v>Av Price/Unit 2.29</c:v>
                </c:pt>
                <c:pt idx="9">
                  <c:v>Av Price/Unit 2.58</c:v>
                </c:pt>
                <c:pt idx="10">
                  <c:v>Av Price/Unit 2.30</c:v>
                </c:pt>
                <c:pt idx="11">
                  <c:v>Av Price/Unit 3.42</c:v>
                </c:pt>
              </c:strCache>
            </c:strRef>
          </c:cat>
          <c:val>
            <c:numRef>
              <c:f>Sheet1!$E$2:$E$13</c:f>
              <c:numCache>
                <c:formatCode>General</c:formatCode>
                <c:ptCount val="12"/>
                <c:pt idx="0">
                  <c:v>0.20452290182866684</c:v>
                </c:pt>
                <c:pt idx="1">
                  <c:v>0.19926219233617193</c:v>
                </c:pt>
                <c:pt idx="2">
                  <c:v>0.1341331276860179</c:v>
                </c:pt>
                <c:pt idx="3">
                  <c:v>0.19415424703053977</c:v>
                </c:pt>
                <c:pt idx="4">
                  <c:v>0.2248866866391093</c:v>
                </c:pt>
                <c:pt idx="5">
                  <c:v>0.14410028671414302</c:v>
                </c:pt>
                <c:pt idx="6">
                  <c:v>0.11970617889692811</c:v>
                </c:pt>
                <c:pt idx="7">
                  <c:v>0.15540245689552826</c:v>
                </c:pt>
                <c:pt idx="8">
                  <c:v>0.11947672815439424</c:v>
                </c:pt>
                <c:pt idx="9">
                  <c:v>0.13433734384867543</c:v>
                </c:pt>
                <c:pt idx="10">
                  <c:v>0.11972795340991524</c:v>
                </c:pt>
                <c:pt idx="11">
                  <c:v>0.1782900135021212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1.66</c:v>
                </c:pt>
                <c:pt idx="4">
                  <c:v>Av Price/Unit 2.15</c:v>
                </c:pt>
                <c:pt idx="5">
                  <c:v>Av Price/Unit 2.33</c:v>
                </c:pt>
                <c:pt idx="6">
                  <c:v>Av Price/Unit 2.13</c:v>
                </c:pt>
                <c:pt idx="7">
                  <c:v>Av Price/Unit 2.31</c:v>
                </c:pt>
                <c:pt idx="8">
                  <c:v>Av Price/Unit 3.30</c:v>
                </c:pt>
                <c:pt idx="9">
                  <c:v>Av Price/Unit 2.72</c:v>
                </c:pt>
                <c:pt idx="10">
                  <c:v>Av Price/Unit 1.30</c:v>
                </c:pt>
                <c:pt idx="11">
                  <c:v>Av Price/Unit 3.42</c:v>
                </c:pt>
              </c:strCache>
            </c:strRef>
          </c:cat>
          <c:val>
            <c:numRef>
              <c:f>Sheet1!$B$2:$B$13</c:f>
              <c:numCache>
                <c:formatCode>General</c:formatCode>
                <c:ptCount val="12"/>
                <c:pt idx="0">
                  <c:v>0.52949882280513305</c:v>
                </c:pt>
                <c:pt idx="1">
                  <c:v>0.52897620446062821</c:v>
                </c:pt>
                <c:pt idx="2">
                  <c:v>0.64024583557505954</c:v>
                </c:pt>
                <c:pt idx="3">
                  <c:v>0.37396960825632253</c:v>
                </c:pt>
                <c:pt idx="4">
                  <c:v>0.45248376840644045</c:v>
                </c:pt>
                <c:pt idx="5">
                  <c:v>0.51486084872729876</c:v>
                </c:pt>
                <c:pt idx="6">
                  <c:v>0.43111069258852941</c:v>
                </c:pt>
                <c:pt idx="7">
                  <c:v>0.47997967913880701</c:v>
                </c:pt>
                <c:pt idx="8">
                  <c:v>0.722055530047919</c:v>
                </c:pt>
                <c:pt idx="9">
                  <c:v>0.51313122164318525</c:v>
                </c:pt>
                <c:pt idx="10">
                  <c:v>0.32830701836504306</c:v>
                </c:pt>
                <c:pt idx="11">
                  <c:v>0.7005986170874943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1.66</c:v>
                </c:pt>
                <c:pt idx="4">
                  <c:v>Av Price/Unit 2.15</c:v>
                </c:pt>
                <c:pt idx="5">
                  <c:v>Av Price/Unit 2.33</c:v>
                </c:pt>
                <c:pt idx="6">
                  <c:v>Av Price/Unit 2.13</c:v>
                </c:pt>
                <c:pt idx="7">
                  <c:v>Av Price/Unit 2.31</c:v>
                </c:pt>
                <c:pt idx="8">
                  <c:v>Av Price/Unit 3.30</c:v>
                </c:pt>
                <c:pt idx="9">
                  <c:v>Av Price/Unit 2.72</c:v>
                </c:pt>
                <c:pt idx="10">
                  <c:v>Av Price/Unit 1.30</c:v>
                </c:pt>
                <c:pt idx="11">
                  <c:v>Av Price/Unit 3.42</c:v>
                </c:pt>
              </c:strCache>
            </c:strRef>
          </c:cat>
          <c:val>
            <c:numRef>
              <c:f>Sheet1!$C$2:$C$13</c:f>
              <c:numCache>
                <c:formatCode>General</c:formatCode>
                <c:ptCount val="12"/>
                <c:pt idx="0">
                  <c:v>0.89925968279527502</c:v>
                </c:pt>
                <c:pt idx="1">
                  <c:v>1.0629143262898952</c:v>
                </c:pt>
                <c:pt idx="2">
                  <c:v>1.5017285332304842</c:v>
                </c:pt>
                <c:pt idx="3">
                  <c:v>0.6443705578761687</c:v>
                </c:pt>
                <c:pt idx="4">
                  <c:v>0.87948727181616437</c:v>
                </c:pt>
                <c:pt idx="5">
                  <c:v>0.76706892978793151</c:v>
                </c:pt>
                <c:pt idx="6">
                  <c:v>0.81503290398000128</c:v>
                </c:pt>
                <c:pt idx="7">
                  <c:v>0.93172191264981685</c:v>
                </c:pt>
                <c:pt idx="8">
                  <c:v>1.147879432854604</c:v>
                </c:pt>
                <c:pt idx="9">
                  <c:v>1.0616570802489076</c:v>
                </c:pt>
                <c:pt idx="10">
                  <c:v>0.51052457666785978</c:v>
                </c:pt>
                <c:pt idx="11">
                  <c:v>1.738070152363941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1.66</c:v>
                </c:pt>
                <c:pt idx="4">
                  <c:v>Av Price/Unit 2.15</c:v>
                </c:pt>
                <c:pt idx="5">
                  <c:v>Av Price/Unit 2.33</c:v>
                </c:pt>
                <c:pt idx="6">
                  <c:v>Av Price/Unit 2.13</c:v>
                </c:pt>
                <c:pt idx="7">
                  <c:v>Av Price/Unit 2.31</c:v>
                </c:pt>
                <c:pt idx="8">
                  <c:v>Av Price/Unit 3.30</c:v>
                </c:pt>
                <c:pt idx="9">
                  <c:v>Av Price/Unit 2.72</c:v>
                </c:pt>
                <c:pt idx="10">
                  <c:v>Av Price/Unit 1.30</c:v>
                </c:pt>
                <c:pt idx="11">
                  <c:v>Av Price/Unit 3.42</c:v>
                </c:pt>
              </c:strCache>
            </c:strRef>
          </c:cat>
          <c:val>
            <c:numRef>
              <c:f>Sheet1!$D$2:$D$13</c:f>
              <c:numCache>
                <c:formatCode>General</c:formatCode>
                <c:ptCount val="12"/>
                <c:pt idx="0">
                  <c:v>0.74344564266131496</c:v>
                </c:pt>
                <c:pt idx="1">
                  <c:v>0.85060663013449256</c:v>
                </c:pt>
                <c:pt idx="2">
                  <c:v>1.0997173008991594</c:v>
                </c:pt>
                <c:pt idx="3">
                  <c:v>0.55094168839484703</c:v>
                </c:pt>
                <c:pt idx="4">
                  <c:v>0.70137171625664174</c:v>
                </c:pt>
                <c:pt idx="5">
                  <c:v>0.9313761736766375</c:v>
                </c:pt>
                <c:pt idx="6">
                  <c:v>0.77666314448408924</c:v>
                </c:pt>
                <c:pt idx="7">
                  <c:v>0.77710787503935719</c:v>
                </c:pt>
                <c:pt idx="8">
                  <c:v>1.2577734734074431</c:v>
                </c:pt>
                <c:pt idx="9">
                  <c:v>1.000143200359277</c:v>
                </c:pt>
                <c:pt idx="10">
                  <c:v>0.3929078532915744</c:v>
                </c:pt>
                <c:pt idx="11">
                  <c:v>0.7983066486153500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1.66</c:v>
                </c:pt>
                <c:pt idx="4">
                  <c:v>Av Price/Unit 2.15</c:v>
                </c:pt>
                <c:pt idx="5">
                  <c:v>Av Price/Unit 2.33</c:v>
                </c:pt>
                <c:pt idx="6">
                  <c:v>Av Price/Unit 2.13</c:v>
                </c:pt>
                <c:pt idx="7">
                  <c:v>Av Price/Unit 2.31</c:v>
                </c:pt>
                <c:pt idx="8">
                  <c:v>Av Price/Unit 3.30</c:v>
                </c:pt>
                <c:pt idx="9">
                  <c:v>Av Price/Unit 2.72</c:v>
                </c:pt>
                <c:pt idx="10">
                  <c:v>Av Price/Unit 1.30</c:v>
                </c:pt>
                <c:pt idx="11">
                  <c:v>Av Price/Unit 3.42</c:v>
                </c:pt>
              </c:strCache>
            </c:strRef>
          </c:cat>
          <c:val>
            <c:numRef>
              <c:f>Sheet1!$E$2:$E$13</c:f>
              <c:numCache>
                <c:formatCode>General</c:formatCode>
                <c:ptCount val="12"/>
                <c:pt idx="0">
                  <c:v>0.11947672815439424</c:v>
                </c:pt>
                <c:pt idx="1">
                  <c:v>0.13433734384867543</c:v>
                </c:pt>
                <c:pt idx="2">
                  <c:v>0.17829001350212123</c:v>
                </c:pt>
                <c:pt idx="3">
                  <c:v>8.6307339213463355E-2</c:v>
                </c:pt>
                <c:pt idx="4">
                  <c:v>0.11183638989144364</c:v>
                </c:pt>
                <c:pt idx="5">
                  <c:v>0.12173054425093276</c:v>
                </c:pt>
                <c:pt idx="6">
                  <c:v>0.11125437075789402</c:v>
                </c:pt>
                <c:pt idx="7">
                  <c:v>0.12038452067553918</c:v>
                </c:pt>
                <c:pt idx="8">
                  <c:v>0.1720239639970475</c:v>
                </c:pt>
                <c:pt idx="9">
                  <c:v>0.14162371821189068</c:v>
                </c:pt>
                <c:pt idx="10">
                  <c:v>6.7745669657845994E-2</c:v>
                </c:pt>
                <c:pt idx="11">
                  <c:v>0.1780336479936730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2</c:v>
                </c:pt>
                <c:pt idx="1">
                  <c:v>Av Price/Unit 2.11</c:v>
                </c:pt>
                <c:pt idx="2">
                  <c:v>Av Price/Unit 2.06</c:v>
                </c:pt>
                <c:pt idx="3">
                  <c:v>Av Price/Unit 2.17</c:v>
                </c:pt>
                <c:pt idx="4">
                  <c:v>Av Price/Unit 2.15</c:v>
                </c:pt>
                <c:pt idx="5">
                  <c:v>Av Price/Unit 2.14</c:v>
                </c:pt>
              </c:strCache>
            </c:strRef>
          </c:cat>
          <c:val>
            <c:numRef>
              <c:f>Sheet1!$B$2:$B$7</c:f>
              <c:numCache>
                <c:formatCode>General</c:formatCode>
                <c:ptCount val="6"/>
                <c:pt idx="0">
                  <c:v>0.45863882742205797</c:v>
                </c:pt>
                <c:pt idx="1">
                  <c:v>0.23614496095238097</c:v>
                </c:pt>
                <c:pt idx="2">
                  <c:v>0.16756416253450257</c:v>
                </c:pt>
                <c:pt idx="3">
                  <c:v>0.31000140577507601</c:v>
                </c:pt>
                <c:pt idx="4">
                  <c:v>0.3599</c:v>
                </c:pt>
                <c:pt idx="5">
                  <c:v>6.9786485099337728E-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2</c:v>
                </c:pt>
                <c:pt idx="1">
                  <c:v>Av Price/Unit 2.11</c:v>
                </c:pt>
                <c:pt idx="2">
                  <c:v>Av Price/Unit 2.06</c:v>
                </c:pt>
                <c:pt idx="3">
                  <c:v>Av Price/Unit 2.17</c:v>
                </c:pt>
                <c:pt idx="4">
                  <c:v>Av Price/Unit 2.15</c:v>
                </c:pt>
                <c:pt idx="5">
                  <c:v>Av Price/Unit 2.14</c:v>
                </c:pt>
              </c:strCache>
            </c:strRef>
          </c:cat>
          <c:val>
            <c:numRef>
              <c:f>Sheet1!$C$2:$C$7</c:f>
              <c:numCache>
                <c:formatCode>General</c:formatCode>
                <c:ptCount val="6"/>
                <c:pt idx="0">
                  <c:v>0.87549184992434137</c:v>
                </c:pt>
                <c:pt idx="1">
                  <c:v>0.91286584095238099</c:v>
                </c:pt>
                <c:pt idx="2">
                  <c:v>0.91481161728425231</c:v>
                </c:pt>
                <c:pt idx="3">
                  <c:v>0.90753376139817632</c:v>
                </c:pt>
                <c:pt idx="4">
                  <c:v>0.89190000000000014</c:v>
                </c:pt>
                <c:pt idx="5">
                  <c:v>0.870964821192052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2</c:v>
                </c:pt>
                <c:pt idx="1">
                  <c:v>Av Price/Unit 2.11</c:v>
                </c:pt>
                <c:pt idx="2">
                  <c:v>Av Price/Unit 2.06</c:v>
                </c:pt>
                <c:pt idx="3">
                  <c:v>Av Price/Unit 2.17</c:v>
                </c:pt>
                <c:pt idx="4">
                  <c:v>Av Price/Unit 2.15</c:v>
                </c:pt>
                <c:pt idx="5">
                  <c:v>Av Price/Unit 2.14</c:v>
                </c:pt>
              </c:strCache>
            </c:strRef>
          </c:cat>
          <c:val>
            <c:numRef>
              <c:f>Sheet1!$D$2:$D$7</c:f>
              <c:numCache>
                <c:formatCode>General</c:formatCode>
                <c:ptCount val="6"/>
                <c:pt idx="0">
                  <c:v>0.86230876864442729</c:v>
                </c:pt>
                <c:pt idx="1">
                  <c:v>0.85400431883547778</c:v>
                </c:pt>
                <c:pt idx="2">
                  <c:v>0.87499253454654347</c:v>
                </c:pt>
                <c:pt idx="3">
                  <c:v>0.83979063700139811</c:v>
                </c:pt>
                <c:pt idx="4">
                  <c:v>0.78937410427015231</c:v>
                </c:pt>
                <c:pt idx="5">
                  <c:v>1.088775785089921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2</c:v>
                </c:pt>
                <c:pt idx="1">
                  <c:v>Av Price/Unit 2.11</c:v>
                </c:pt>
                <c:pt idx="2">
                  <c:v>Av Price/Unit 2.06</c:v>
                </c:pt>
                <c:pt idx="3">
                  <c:v>Av Price/Unit 2.17</c:v>
                </c:pt>
                <c:pt idx="4">
                  <c:v>Av Price/Unit 2.15</c:v>
                </c:pt>
                <c:pt idx="5">
                  <c:v>Av Price/Unit 2.14</c:v>
                </c:pt>
              </c:strCache>
            </c:strRef>
          </c:cat>
          <c:val>
            <c:numRef>
              <c:f>Sheet1!$E$2:$E$7</c:f>
              <c:numCache>
                <c:formatCode>General</c:formatCode>
                <c:ptCount val="6"/>
                <c:pt idx="0">
                  <c:v>0.12080416952949588</c:v>
                </c:pt>
                <c:pt idx="1">
                  <c:v>0.11016583164071282</c:v>
                </c:pt>
                <c:pt idx="2">
                  <c:v>0.10765525729009154</c:v>
                </c:pt>
                <c:pt idx="3">
                  <c:v>0.11315291922960527</c:v>
                </c:pt>
                <c:pt idx="4">
                  <c:v>0.11226457573485851</c:v>
                </c:pt>
                <c:pt idx="5">
                  <c:v>0.1116200841153761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26</c:v>
                </c:pt>
                <c:pt idx="5">
                  <c:v>Av Price/Unit 2.37</c:v>
                </c:pt>
                <c:pt idx="6">
                  <c:v>Av Price/Unit 2.33</c:v>
                </c:pt>
                <c:pt idx="7">
                  <c:v>Av Price/Unit 3.32</c:v>
                </c:pt>
                <c:pt idx="8">
                  <c:v>Av Price/Unit 2.27</c:v>
                </c:pt>
                <c:pt idx="9">
                  <c:v>Av Price/Unit 2.38</c:v>
                </c:pt>
                <c:pt idx="10">
                  <c:v>Av Price/Unit 2.66</c:v>
                </c:pt>
                <c:pt idx="11">
                  <c:v>Av Price/Unit 2.52</c:v>
                </c:pt>
              </c:strCache>
            </c:strRef>
          </c:cat>
          <c:val>
            <c:numRef>
              <c:f>Sheet1!$B$2:$B$13</c:f>
              <c:numCache>
                <c:formatCode>General</c:formatCode>
                <c:ptCount val="12"/>
                <c:pt idx="0">
                  <c:v>0.42012280520508982</c:v>
                </c:pt>
                <c:pt idx="1">
                  <c:v>0.433677487269715</c:v>
                </c:pt>
                <c:pt idx="2">
                  <c:v>0.42327455357700045</c:v>
                </c:pt>
                <c:pt idx="3">
                  <c:v>0.3485742495752312</c:v>
                </c:pt>
                <c:pt idx="4">
                  <c:v>0.27710899523586008</c:v>
                </c:pt>
                <c:pt idx="5">
                  <c:v>0.40460871232362994</c:v>
                </c:pt>
                <c:pt idx="6">
                  <c:v>0.37919900108806098</c:v>
                </c:pt>
                <c:pt idx="7">
                  <c:v>0.19363882496228027</c:v>
                </c:pt>
                <c:pt idx="8">
                  <c:v>0.45761859418699558</c:v>
                </c:pt>
                <c:pt idx="9">
                  <c:v>0.45854906830570685</c:v>
                </c:pt>
                <c:pt idx="10">
                  <c:v>0.36772032849672226</c:v>
                </c:pt>
                <c:pt idx="11">
                  <c:v>0.3247179943418702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26</c:v>
                </c:pt>
                <c:pt idx="5">
                  <c:v>Av Price/Unit 2.37</c:v>
                </c:pt>
                <c:pt idx="6">
                  <c:v>Av Price/Unit 2.33</c:v>
                </c:pt>
                <c:pt idx="7">
                  <c:v>Av Price/Unit 3.32</c:v>
                </c:pt>
                <c:pt idx="8">
                  <c:v>Av Price/Unit 2.27</c:v>
                </c:pt>
                <c:pt idx="9">
                  <c:v>Av Price/Unit 2.38</c:v>
                </c:pt>
                <c:pt idx="10">
                  <c:v>Av Price/Unit 2.66</c:v>
                </c:pt>
                <c:pt idx="11">
                  <c:v>Av Price/Unit 2.52</c:v>
                </c:pt>
              </c:strCache>
            </c:strRef>
          </c:cat>
          <c:val>
            <c:numRef>
              <c:f>Sheet1!$C$2:$C$13</c:f>
              <c:numCache>
                <c:formatCode>General</c:formatCode>
                <c:ptCount val="12"/>
                <c:pt idx="0">
                  <c:v>1.0606184662803047</c:v>
                </c:pt>
                <c:pt idx="1">
                  <c:v>1.500939785214487</c:v>
                </c:pt>
                <c:pt idx="2">
                  <c:v>0.89905207097479345</c:v>
                </c:pt>
                <c:pt idx="3">
                  <c:v>0.6411008684160846</c:v>
                </c:pt>
                <c:pt idx="4">
                  <c:v>0.816096402285723</c:v>
                </c:pt>
                <c:pt idx="5">
                  <c:v>0.92758385365396356</c:v>
                </c:pt>
                <c:pt idx="6">
                  <c:v>0.88055412729482552</c:v>
                </c:pt>
                <c:pt idx="7">
                  <c:v>1.7301012197560486</c:v>
                </c:pt>
                <c:pt idx="8">
                  <c:v>0.85492841032263245</c:v>
                </c:pt>
                <c:pt idx="9">
                  <c:v>0.76579730643008137</c:v>
                </c:pt>
                <c:pt idx="10">
                  <c:v>1.0539723429329011</c:v>
                </c:pt>
                <c:pt idx="11">
                  <c:v>1.035930308219178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26</c:v>
                </c:pt>
                <c:pt idx="5">
                  <c:v>Av Price/Unit 2.37</c:v>
                </c:pt>
                <c:pt idx="6">
                  <c:v>Av Price/Unit 2.33</c:v>
                </c:pt>
                <c:pt idx="7">
                  <c:v>Av Price/Unit 3.32</c:v>
                </c:pt>
                <c:pt idx="8">
                  <c:v>Av Price/Unit 2.27</c:v>
                </c:pt>
                <c:pt idx="9">
                  <c:v>Av Price/Unit 2.38</c:v>
                </c:pt>
                <c:pt idx="10">
                  <c:v>Av Price/Unit 2.66</c:v>
                </c:pt>
                <c:pt idx="11">
                  <c:v>Av Price/Unit 2.52</c:v>
                </c:pt>
              </c:strCache>
            </c:strRef>
          </c:cat>
          <c:val>
            <c:numRef>
              <c:f>Sheet1!$D$2:$D$13</c:f>
              <c:numCache>
                <c:formatCode>General</c:formatCode>
                <c:ptCount val="12"/>
                <c:pt idx="0">
                  <c:v>0.82266446394684589</c:v>
                </c:pt>
                <c:pt idx="1">
                  <c:v>1.1521241036449539</c:v>
                </c:pt>
                <c:pt idx="2">
                  <c:v>0.74879604952620782</c:v>
                </c:pt>
                <c:pt idx="3">
                  <c:v>0.66721016021273116</c:v>
                </c:pt>
                <c:pt idx="4">
                  <c:v>1.0498914491552349</c:v>
                </c:pt>
                <c:pt idx="5">
                  <c:v>0.91229970208139433</c:v>
                </c:pt>
                <c:pt idx="6">
                  <c:v>0.94516487353658163</c:v>
                </c:pt>
                <c:pt idx="7">
                  <c:v>1.2272066724440542</c:v>
                </c:pt>
                <c:pt idx="8">
                  <c:v>0.84228176413618172</c:v>
                </c:pt>
                <c:pt idx="9">
                  <c:v>1.0335309359983069</c:v>
                </c:pt>
                <c:pt idx="10">
                  <c:v>1.0991619649940358</c:v>
                </c:pt>
                <c:pt idx="11">
                  <c:v>1.029502260993765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26</c:v>
                </c:pt>
                <c:pt idx="5">
                  <c:v>Av Price/Unit 2.37</c:v>
                </c:pt>
                <c:pt idx="6">
                  <c:v>Av Price/Unit 2.33</c:v>
                </c:pt>
                <c:pt idx="7">
                  <c:v>Av Price/Unit 3.32</c:v>
                </c:pt>
                <c:pt idx="8">
                  <c:v>Av Price/Unit 2.27</c:v>
                </c:pt>
                <c:pt idx="9">
                  <c:v>Av Price/Unit 2.38</c:v>
                </c:pt>
                <c:pt idx="10">
                  <c:v>Av Price/Unit 2.66</c:v>
                </c:pt>
                <c:pt idx="11">
                  <c:v>Av Price/Unit 2.52</c:v>
                </c:pt>
              </c:strCache>
            </c:strRef>
          </c:cat>
          <c:val>
            <c:numRef>
              <c:f>Sheet1!$E$2:$E$13</c:f>
              <c:numCache>
                <c:formatCode>General</c:formatCode>
                <c:ptCount val="12"/>
                <c:pt idx="0">
                  <c:v>0.12668731544877293</c:v>
                </c:pt>
                <c:pt idx="1">
                  <c:v>0.16976777881387045</c:v>
                </c:pt>
                <c:pt idx="2">
                  <c:v>0.11391174707429051</c:v>
                </c:pt>
                <c:pt idx="3">
                  <c:v>9.1125832834732134E-2</c:v>
                </c:pt>
                <c:pt idx="4">
                  <c:v>0.11786785688041893</c:v>
                </c:pt>
                <c:pt idx="5">
                  <c:v>0.12344707474324408</c:v>
                </c:pt>
                <c:pt idx="6">
                  <c:v>0.12127049010557099</c:v>
                </c:pt>
                <c:pt idx="7">
                  <c:v>0.17330206944393153</c:v>
                </c:pt>
                <c:pt idx="8">
                  <c:v>0.1185155822755196</c:v>
                </c:pt>
                <c:pt idx="9">
                  <c:v>0.12418513271530583</c:v>
                </c:pt>
                <c:pt idx="10">
                  <c:v>0.13864443553627248</c:v>
                </c:pt>
                <c:pt idx="11">
                  <c:v>0.131458280995514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c:spPr>
            <c:extLst>
              <c:ext xmlns:c16="http://schemas.microsoft.com/office/drawing/2014/chart" uri="{C3380CC4-5D6E-409C-BE32-E72D297353CC}">
                <c16:uniqueId val="{0000000B-7D2A-4F1E-BC80-EAAAE9B08A80}"/>
              </c:ext>
            </c:extLst>
          </c:dPt>
          <c:dPt>
            <c:idx val="5"/>
            <c:invertIfNegative val="0"/>
            <c:bubble3D val="0"/>
            <c:spPr>
              <a:solidFill>
                <a:srgbClr val="006C6D"/>
              </a:solidFill>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BA40F33-47E1-4A5D-B854-2BA247276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D3A4522-BADF-4684-A66E-ED7705D8E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0F6CDD6-BBFB-423C-8ADF-E7BF75AAC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553BBDB-05E6-463C-AA08-C9CF1DA82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2418F40-9CC8-4BE7-93B9-7C41EECA8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571A563-A68B-4DB1-9F51-A8C100EB9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5617C86-F5DC-4719-B75C-4DF34E104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4DE7E204-BAD2-4929-BDD1-00F02895C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2287</c:v>
                </c:pt>
                <c:pt idx="1">
                  <c:v>10.2614</c:v>
                </c:pt>
                <c:pt idx="2">
                  <c:v>11.1976</c:v>
                </c:pt>
                <c:pt idx="3">
                  <c:v>6.5247999999999999</c:v>
                </c:pt>
                <c:pt idx="4">
                  <c:v>10.6401</c:v>
                </c:pt>
                <c:pt idx="5">
                  <c:v>8.2765000000000004</c:v>
                </c:pt>
              </c:numCache>
            </c:numRef>
          </c:xVal>
          <c:yVal>
            <c:numRef>
              <c:f>Sheet1!$B$2:$B$7</c:f>
              <c:numCache>
                <c:formatCode>General</c:formatCode>
                <c:ptCount val="6"/>
                <c:pt idx="0">
                  <c:v>0.26939999999999997</c:v>
                </c:pt>
                <c:pt idx="1">
                  <c:v>0.42699999999999999</c:v>
                </c:pt>
                <c:pt idx="2">
                  <c:v>0.41560000000000002</c:v>
                </c:pt>
                <c:pt idx="3">
                  <c:v>0.32169999999999999</c:v>
                </c:pt>
                <c:pt idx="4">
                  <c:v>0.34329999999999999</c:v>
                </c:pt>
                <c:pt idx="5">
                  <c:v>0.4047</c:v>
                </c:pt>
              </c:numCache>
            </c:numRef>
          </c:yVal>
          <c:bubbleSize>
            <c:numRef>
              <c:f>Sheet1!$C$2:$C$7</c:f>
              <c:numCache>
                <c:formatCode>General</c:formatCode>
                <c:ptCount val="6"/>
                <c:pt idx="0">
                  <c:v>3014199.027499998</c:v>
                </c:pt>
                <c:pt idx="1">
                  <c:v>3322831.9249</c:v>
                </c:pt>
                <c:pt idx="2">
                  <c:v>3015794.5518999998</c:v>
                </c:pt>
                <c:pt idx="3">
                  <c:v>3275056.2296000002</c:v>
                </c:pt>
                <c:pt idx="4">
                  <c:v>67639.292000000001</c:v>
                </c:pt>
                <c:pt idx="5">
                  <c:v>2951124.8232</c:v>
                </c:pt>
              </c:numCache>
            </c:numRef>
          </c:bubbleSize>
          <c:bubble3D val="0"/>
          <c:extLst>
            <c:ext xmlns:c15="http://schemas.microsoft.com/office/drawing/2012/chart" uri="{02D57815-91ED-43cb-92C2-25804820EDAC}">
              <c15:datalabelsRange>
                <c15:f>Sheet1!$E$2:$E$29</c15:f>
                <c15:dlblRangeCache>
                  <c:ptCount val="28"/>
                  <c:pt idx="0">
                    <c:v>Boursin</c:v>
                  </c:pt>
                  <c:pt idx="1">
                    <c:v>Apericube</c:v>
                  </c:pt>
                  <c:pt idx="2">
                    <c:v>Mini Babybel</c:v>
                  </c:pt>
                  <c:pt idx="3">
                    <c:v>La Vache Qui Rit</c:v>
                  </c:pt>
                  <c:pt idx="4">
                    <c:v>Nurishh</c:v>
                  </c:pt>
                  <c:pt idx="5">
                    <c:v>Kiri</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437119999999998"/>
          <c:min val="5.2198400000000005"/>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78337897573396"/>
        <c:crossBetween val="midCat"/>
      </c:valAx>
      <c:valAx>
        <c:axId val="1011451359"/>
        <c:scaling>
          <c:orientation val="minMax"/>
          <c:max val="0.87239999999999995"/>
          <c:min val="-2.4480000000000016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9.280689797576281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6</c:v>
                </c:pt>
                <c:pt idx="1">
                  <c:v>Av Price/Unit 2.32</c:v>
                </c:pt>
                <c:pt idx="2">
                  <c:v>Av Price/Unit 2.26</c:v>
                </c:pt>
                <c:pt idx="3">
                  <c:v>Av Price/Unit 2.22</c:v>
                </c:pt>
                <c:pt idx="4">
                  <c:v>Av Price/Unit 2.31</c:v>
                </c:pt>
                <c:pt idx="5">
                  <c:v>Av Price/Unit 2.46</c:v>
                </c:pt>
              </c:strCache>
            </c:strRef>
          </c:cat>
          <c:val>
            <c:numRef>
              <c:f>Sheet1!$B$2:$B$7</c:f>
              <c:numCache>
                <c:formatCode>General</c:formatCode>
                <c:ptCount val="6"/>
                <c:pt idx="0">
                  <c:v>0.3953068660208956</c:v>
                </c:pt>
                <c:pt idx="1">
                  <c:v>0.35435213426989054</c:v>
                </c:pt>
                <c:pt idx="2">
                  <c:v>0.40757838468267071</c:v>
                </c:pt>
                <c:pt idx="3">
                  <c:v>0.47289999999999993</c:v>
                </c:pt>
                <c:pt idx="4">
                  <c:v>0.22346482610487947</c:v>
                </c:pt>
                <c:pt idx="5">
                  <c:v>0.326199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6</c:v>
                </c:pt>
                <c:pt idx="1">
                  <c:v>Av Price/Unit 2.32</c:v>
                </c:pt>
                <c:pt idx="2">
                  <c:v>Av Price/Unit 2.26</c:v>
                </c:pt>
                <c:pt idx="3">
                  <c:v>Av Price/Unit 2.22</c:v>
                </c:pt>
                <c:pt idx="4">
                  <c:v>Av Price/Unit 2.31</c:v>
                </c:pt>
                <c:pt idx="5">
                  <c:v>Av Price/Unit 2.46</c:v>
                </c:pt>
              </c:strCache>
            </c:strRef>
          </c:cat>
          <c:val>
            <c:numRef>
              <c:f>Sheet1!$C$2:$C$7</c:f>
              <c:numCache>
                <c:formatCode>General</c:formatCode>
                <c:ptCount val="6"/>
                <c:pt idx="0">
                  <c:v>0.87247499745887147</c:v>
                </c:pt>
                <c:pt idx="1">
                  <c:v>0.91884871842496274</c:v>
                </c:pt>
                <c:pt idx="2">
                  <c:v>0.90751013703955674</c:v>
                </c:pt>
                <c:pt idx="3">
                  <c:v>0.86539999999999995</c:v>
                </c:pt>
                <c:pt idx="4">
                  <c:v>0.90068188583454478</c:v>
                </c:pt>
                <c:pt idx="5">
                  <c:v>0.8919000000000001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6</c:v>
                </c:pt>
                <c:pt idx="1">
                  <c:v>Av Price/Unit 2.32</c:v>
                </c:pt>
                <c:pt idx="2">
                  <c:v>Av Price/Unit 2.26</c:v>
                </c:pt>
                <c:pt idx="3">
                  <c:v>Av Price/Unit 2.22</c:v>
                </c:pt>
                <c:pt idx="4">
                  <c:v>Av Price/Unit 2.31</c:v>
                </c:pt>
                <c:pt idx="5">
                  <c:v>Av Price/Unit 2.46</c:v>
                </c:pt>
              </c:strCache>
            </c:strRef>
          </c:cat>
          <c:val>
            <c:numRef>
              <c:f>Sheet1!$D$2:$D$7</c:f>
              <c:numCache>
                <c:formatCode>General</c:formatCode>
                <c:ptCount val="6"/>
                <c:pt idx="0">
                  <c:v>0.97322231381046653</c:v>
                </c:pt>
                <c:pt idx="1">
                  <c:v>0.92376600775239748</c:v>
                </c:pt>
                <c:pt idx="2">
                  <c:v>0.82491375374888531</c:v>
                </c:pt>
                <c:pt idx="3">
                  <c:v>0.7654052799219071</c:v>
                </c:pt>
                <c:pt idx="4">
                  <c:v>1.0666357716308386</c:v>
                </c:pt>
                <c:pt idx="5">
                  <c:v>1.11533028909977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6</c:v>
                </c:pt>
                <c:pt idx="1">
                  <c:v>Av Price/Unit 2.32</c:v>
                </c:pt>
                <c:pt idx="2">
                  <c:v>Av Price/Unit 2.26</c:v>
                </c:pt>
                <c:pt idx="3">
                  <c:v>Av Price/Unit 2.22</c:v>
                </c:pt>
                <c:pt idx="4">
                  <c:v>Av Price/Unit 2.31</c:v>
                </c:pt>
                <c:pt idx="5">
                  <c:v>Av Price/Unit 2.46</c:v>
                </c:pt>
              </c:strCache>
            </c:strRef>
          </c:cat>
          <c:val>
            <c:numRef>
              <c:f>Sheet1!$E$2:$E$7</c:f>
              <c:numCache>
                <c:formatCode>General</c:formatCode>
                <c:ptCount val="6"/>
                <c:pt idx="0">
                  <c:v>0.12325522975096254</c:v>
                </c:pt>
                <c:pt idx="1">
                  <c:v>0.12083459504376659</c:v>
                </c:pt>
                <c:pt idx="2">
                  <c:v>0.11770012515091043</c:v>
                </c:pt>
                <c:pt idx="3">
                  <c:v>0.11570379039570508</c:v>
                </c:pt>
                <c:pt idx="4">
                  <c:v>0.12049303659636446</c:v>
                </c:pt>
                <c:pt idx="5">
                  <c:v>0.1283386659004879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36</c:v>
                </c:pt>
                <c:pt idx="1">
                  <c:v>Av Price/Unit 3.39</c:v>
                </c:pt>
                <c:pt idx="2">
                  <c:v>Av Price/Unit 3.36</c:v>
                </c:pt>
                <c:pt idx="3">
                  <c:v>Av Price/Unit 3.09</c:v>
                </c:pt>
                <c:pt idx="4">
                  <c:v>Av Price/Unit 3.29</c:v>
                </c:pt>
              </c:strCache>
            </c:strRef>
          </c:cat>
          <c:val>
            <c:numRef>
              <c:f>Sheet1!$B$2:$B$6</c:f>
              <c:numCache>
                <c:formatCode>General</c:formatCode>
                <c:ptCount val="5"/>
                <c:pt idx="0">
                  <c:v>0.51116316721880162</c:v>
                </c:pt>
                <c:pt idx="1">
                  <c:v>0.43074293657091739</c:v>
                </c:pt>
                <c:pt idx="2">
                  <c:v>0.35760482244405345</c:v>
                </c:pt>
                <c:pt idx="3">
                  <c:v>0.74979999999999991</c:v>
                </c:pt>
                <c:pt idx="4">
                  <c:v>0.31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36</c:v>
                </c:pt>
                <c:pt idx="1">
                  <c:v>Av Price/Unit 3.39</c:v>
                </c:pt>
                <c:pt idx="2">
                  <c:v>Av Price/Unit 3.36</c:v>
                </c:pt>
                <c:pt idx="3">
                  <c:v>Av Price/Unit 3.09</c:v>
                </c:pt>
                <c:pt idx="4">
                  <c:v>Av Price/Unit 3.29</c:v>
                </c:pt>
              </c:strCache>
            </c:strRef>
          </c:cat>
          <c:val>
            <c:numRef>
              <c:f>Sheet1!$C$2:$C$6</c:f>
              <c:numCache>
                <c:formatCode>General</c:formatCode>
                <c:ptCount val="5"/>
                <c:pt idx="0">
                  <c:v>1.3856637456850773</c:v>
                </c:pt>
                <c:pt idx="1">
                  <c:v>1.3760727293864328</c:v>
                </c:pt>
                <c:pt idx="2">
                  <c:v>1.5354688745244041</c:v>
                </c:pt>
                <c:pt idx="3">
                  <c:v>1.4331</c:v>
                </c:pt>
                <c:pt idx="4">
                  <c:v>1.484500000000000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36</c:v>
                </c:pt>
                <c:pt idx="1">
                  <c:v>Av Price/Unit 3.39</c:v>
                </c:pt>
                <c:pt idx="2">
                  <c:v>Av Price/Unit 3.36</c:v>
                </c:pt>
                <c:pt idx="3">
                  <c:v>Av Price/Unit 3.09</c:v>
                </c:pt>
                <c:pt idx="4">
                  <c:v>Av Price/Unit 3.29</c:v>
                </c:pt>
              </c:strCache>
            </c:strRef>
          </c:cat>
          <c:val>
            <c:numRef>
              <c:f>Sheet1!$D$2:$D$6</c:f>
              <c:numCache>
                <c:formatCode>General</c:formatCode>
                <c:ptCount val="5"/>
                <c:pt idx="0">
                  <c:v>1.2872076128279848</c:v>
                </c:pt>
                <c:pt idx="1">
                  <c:v>1.4019280760585859</c:v>
                </c:pt>
                <c:pt idx="2">
                  <c:v>1.2916125249128794</c:v>
                </c:pt>
                <c:pt idx="3">
                  <c:v>0.7493201495313242</c:v>
                </c:pt>
                <c:pt idx="4">
                  <c:v>1.322855972520639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v Price/Unit 3.36</c:v>
                </c:pt>
                <c:pt idx="1">
                  <c:v>Av Price/Unit 3.39</c:v>
                </c:pt>
                <c:pt idx="2">
                  <c:v>Av Price/Unit 3.36</c:v>
                </c:pt>
                <c:pt idx="3">
                  <c:v>Av Price/Unit 3.09</c:v>
                </c:pt>
                <c:pt idx="4">
                  <c:v>Av Price/Unit 3.29</c:v>
                </c:pt>
              </c:strCache>
            </c:strRef>
          </c:cat>
          <c:val>
            <c:numRef>
              <c:f>Sheet1!$E$2:$E$6</c:f>
              <c:numCache>
                <c:formatCode>General</c:formatCode>
                <c:ptCount val="5"/>
                <c:pt idx="0">
                  <c:v>0.1751189827078386</c:v>
                </c:pt>
                <c:pt idx="1">
                  <c:v>0.17648090581087633</c:v>
                </c:pt>
                <c:pt idx="2">
                  <c:v>0.17516085396860009</c:v>
                </c:pt>
                <c:pt idx="3">
                  <c:v>0.16127210822422286</c:v>
                </c:pt>
                <c:pt idx="4">
                  <c:v>0.1716745784886348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95</c:v>
                </c:pt>
                <c:pt idx="1">
                  <c:v>Av Price/Unit 5.21</c:v>
                </c:pt>
                <c:pt idx="2">
                  <c:v>Av Price/Unit 2.21</c:v>
                </c:pt>
                <c:pt idx="3">
                  <c:v>Av Price/Unit 3.64</c:v>
                </c:pt>
                <c:pt idx="4">
                  <c:v>Av Price/Unit 2.37</c:v>
                </c:pt>
                <c:pt idx="5">
                  <c:v>Av Price/Unit 2.38</c:v>
                </c:pt>
                <c:pt idx="6">
                  <c:v>Av Price/Unit 2.70</c:v>
                </c:pt>
                <c:pt idx="7">
                  <c:v>Av Price/Unit 3.90</c:v>
                </c:pt>
                <c:pt idx="8">
                  <c:v>Av Price/Unit 2.98</c:v>
                </c:pt>
                <c:pt idx="9">
                  <c:v>Av Price/Unit 2.52</c:v>
                </c:pt>
                <c:pt idx="10">
                  <c:v>Av Price/Unit 3.42</c:v>
                </c:pt>
              </c:strCache>
            </c:strRef>
          </c:cat>
          <c:val>
            <c:numRef>
              <c:f>Sheet1!$B$2:$B$12</c:f>
              <c:numCache>
                <c:formatCode>General</c:formatCode>
                <c:ptCount val="11"/>
                <c:pt idx="0">
                  <c:v>0.80823054354932211</c:v>
                </c:pt>
                <c:pt idx="1">
                  <c:v>1.1325946747246518</c:v>
                </c:pt>
                <c:pt idx="2">
                  <c:v>0.65689971538957304</c:v>
                </c:pt>
                <c:pt idx="3">
                  <c:v>0.91838600243808866</c:v>
                </c:pt>
                <c:pt idx="4">
                  <c:v>0.60218469281829257</c:v>
                </c:pt>
                <c:pt idx="5">
                  <c:v>0.45854906830570685</c:v>
                </c:pt>
                <c:pt idx="6">
                  <c:v>0.4472621584311946</c:v>
                </c:pt>
                <c:pt idx="7">
                  <c:v>0.56200000000000017</c:v>
                </c:pt>
                <c:pt idx="8">
                  <c:v>0.5559719195305951</c:v>
                </c:pt>
                <c:pt idx="9">
                  <c:v>0.32471799434187021</c:v>
                </c:pt>
                <c:pt idx="10">
                  <c:v>0.430099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95</c:v>
                </c:pt>
                <c:pt idx="1">
                  <c:v>Av Price/Unit 5.21</c:v>
                </c:pt>
                <c:pt idx="2">
                  <c:v>Av Price/Unit 2.21</c:v>
                </c:pt>
                <c:pt idx="3">
                  <c:v>Av Price/Unit 3.64</c:v>
                </c:pt>
                <c:pt idx="4">
                  <c:v>Av Price/Unit 2.37</c:v>
                </c:pt>
                <c:pt idx="5">
                  <c:v>Av Price/Unit 2.38</c:v>
                </c:pt>
                <c:pt idx="6">
                  <c:v>Av Price/Unit 2.70</c:v>
                </c:pt>
                <c:pt idx="7">
                  <c:v>Av Price/Unit 3.90</c:v>
                </c:pt>
                <c:pt idx="8">
                  <c:v>Av Price/Unit 2.98</c:v>
                </c:pt>
                <c:pt idx="9">
                  <c:v>Av Price/Unit 2.52</c:v>
                </c:pt>
                <c:pt idx="10">
                  <c:v>Av Price/Unit 3.42</c:v>
                </c:pt>
              </c:strCache>
            </c:strRef>
          </c:cat>
          <c:val>
            <c:numRef>
              <c:f>Sheet1!$C$2:$C$12</c:f>
              <c:numCache>
                <c:formatCode>General</c:formatCode>
                <c:ptCount val="11"/>
                <c:pt idx="0">
                  <c:v>1.0765426830204361</c:v>
                </c:pt>
                <c:pt idx="1">
                  <c:v>2.0843824489038418</c:v>
                </c:pt>
                <c:pt idx="2">
                  <c:v>0.70831983836852475</c:v>
                </c:pt>
                <c:pt idx="3">
                  <c:v>1.2758195696096801</c:v>
                </c:pt>
                <c:pt idx="4">
                  <c:v>0.81602908669495089</c:v>
                </c:pt>
                <c:pt idx="5">
                  <c:v>0.76579730643008137</c:v>
                </c:pt>
                <c:pt idx="6">
                  <c:v>0.88777462982923927</c:v>
                </c:pt>
                <c:pt idx="7">
                  <c:v>2.1046</c:v>
                </c:pt>
                <c:pt idx="8">
                  <c:v>0.87425740537752294</c:v>
                </c:pt>
                <c:pt idx="9">
                  <c:v>1.0359303082191784</c:v>
                </c:pt>
                <c:pt idx="10">
                  <c:v>1.19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95</c:v>
                </c:pt>
                <c:pt idx="1">
                  <c:v>Av Price/Unit 5.21</c:v>
                </c:pt>
                <c:pt idx="2">
                  <c:v>Av Price/Unit 2.21</c:v>
                </c:pt>
                <c:pt idx="3">
                  <c:v>Av Price/Unit 3.64</c:v>
                </c:pt>
                <c:pt idx="4">
                  <c:v>Av Price/Unit 2.37</c:v>
                </c:pt>
                <c:pt idx="5">
                  <c:v>Av Price/Unit 2.38</c:v>
                </c:pt>
                <c:pt idx="6">
                  <c:v>Av Price/Unit 2.70</c:v>
                </c:pt>
                <c:pt idx="7">
                  <c:v>Av Price/Unit 3.90</c:v>
                </c:pt>
                <c:pt idx="8">
                  <c:v>Av Price/Unit 2.98</c:v>
                </c:pt>
                <c:pt idx="9">
                  <c:v>Av Price/Unit 2.52</c:v>
                </c:pt>
                <c:pt idx="10">
                  <c:v>Av Price/Unit 3.42</c:v>
                </c:pt>
              </c:strCache>
            </c:strRef>
          </c:cat>
          <c:val>
            <c:numRef>
              <c:f>Sheet1!$D$2:$D$12</c:f>
              <c:numCache>
                <c:formatCode>General</c:formatCode>
                <c:ptCount val="11"/>
                <c:pt idx="0">
                  <c:v>0.91136693461676654</c:v>
                </c:pt>
                <c:pt idx="1">
                  <c:v>1.7209695258333655</c:v>
                </c:pt>
                <c:pt idx="2">
                  <c:v>0.73314203111871601</c:v>
                </c:pt>
                <c:pt idx="3">
                  <c:v>1.2553609953713978</c:v>
                </c:pt>
                <c:pt idx="4">
                  <c:v>0.82704188777823129</c:v>
                </c:pt>
                <c:pt idx="5">
                  <c:v>1.0335309359983069</c:v>
                </c:pt>
                <c:pt idx="6">
                  <c:v>1.219643570960975</c:v>
                </c:pt>
                <c:pt idx="7">
                  <c:v>1.0345761975191361</c:v>
                </c:pt>
                <c:pt idx="8">
                  <c:v>1.3954804983744342</c:v>
                </c:pt>
                <c:pt idx="9">
                  <c:v>1.0295022609937652</c:v>
                </c:pt>
                <c:pt idx="10">
                  <c:v>1.61830367060932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95</c:v>
                </c:pt>
                <c:pt idx="1">
                  <c:v>Av Price/Unit 5.21</c:v>
                </c:pt>
                <c:pt idx="2">
                  <c:v>Av Price/Unit 2.21</c:v>
                </c:pt>
                <c:pt idx="3">
                  <c:v>Av Price/Unit 3.64</c:v>
                </c:pt>
                <c:pt idx="4">
                  <c:v>Av Price/Unit 2.37</c:v>
                </c:pt>
                <c:pt idx="5">
                  <c:v>Av Price/Unit 2.38</c:v>
                </c:pt>
                <c:pt idx="6">
                  <c:v>Av Price/Unit 2.70</c:v>
                </c:pt>
                <c:pt idx="7">
                  <c:v>Av Price/Unit 3.90</c:v>
                </c:pt>
                <c:pt idx="8">
                  <c:v>Av Price/Unit 2.98</c:v>
                </c:pt>
                <c:pt idx="9">
                  <c:v>Av Price/Unit 2.52</c:v>
                </c:pt>
                <c:pt idx="10">
                  <c:v>Av Price/Unit 3.42</c:v>
                </c:pt>
              </c:strCache>
            </c:strRef>
          </c:cat>
          <c:val>
            <c:numRef>
              <c:f>Sheet1!$E$2:$E$12</c:f>
              <c:numCache>
                <c:formatCode>General</c:formatCode>
                <c:ptCount val="11"/>
                <c:pt idx="0">
                  <c:v>0.15379090345391935</c:v>
                </c:pt>
                <c:pt idx="1">
                  <c:v>0.27158786359143589</c:v>
                </c:pt>
                <c:pt idx="2">
                  <c:v>0.1154066476566291</c:v>
                </c:pt>
                <c:pt idx="3">
                  <c:v>0.18972616120805397</c:v>
                </c:pt>
                <c:pt idx="4">
                  <c:v>0.12348906170103169</c:v>
                </c:pt>
                <c:pt idx="5">
                  <c:v>0.12418513271530583</c:v>
                </c:pt>
                <c:pt idx="6">
                  <c:v>0.1405108127811375</c:v>
                </c:pt>
                <c:pt idx="7">
                  <c:v>0.20356469086355219</c:v>
                </c:pt>
                <c:pt idx="8">
                  <c:v>0.15541404028054023</c:v>
                </c:pt>
                <c:pt idx="9">
                  <c:v>0.1314582809955141</c:v>
                </c:pt>
                <c:pt idx="10">
                  <c:v>0.1783267018835124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B$2:$B$9</c:f>
              <c:numCache>
                <c:formatCode>General</c:formatCode>
                <c:ptCount val="8"/>
                <c:pt idx="0">
                  <c:v>0.78152773524577102</c:v>
                </c:pt>
                <c:pt idx="1">
                  <c:v>0.56580556709380414</c:v>
                </c:pt>
                <c:pt idx="2">
                  <c:v>0.75869120950827296</c:v>
                </c:pt>
                <c:pt idx="3">
                  <c:v>0.52607364852715632</c:v>
                </c:pt>
                <c:pt idx="4">
                  <c:v>0.6563220164473168</c:v>
                </c:pt>
                <c:pt idx="5">
                  <c:v>0.64221659623138261</c:v>
                </c:pt>
                <c:pt idx="6">
                  <c:v>0.27122375731447601</c:v>
                </c:pt>
                <c:pt idx="7">
                  <c:v>0.4413815143725169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C$2:$C$9</c:f>
              <c:numCache>
                <c:formatCode>General</c:formatCode>
                <c:ptCount val="8"/>
                <c:pt idx="0">
                  <c:v>2.1759592025361942</c:v>
                </c:pt>
                <c:pt idx="1">
                  <c:v>0.85550606762343218</c:v>
                </c:pt>
                <c:pt idx="2">
                  <c:v>1.643927595609094</c:v>
                </c:pt>
                <c:pt idx="3">
                  <c:v>0.78439522978475873</c:v>
                </c:pt>
                <c:pt idx="4">
                  <c:v>1.2276194616098244</c:v>
                </c:pt>
                <c:pt idx="5">
                  <c:v>1.0339236349641951</c:v>
                </c:pt>
                <c:pt idx="6">
                  <c:v>0.73491341831565438</c:v>
                </c:pt>
                <c:pt idx="7">
                  <c:v>2.11362907221313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D$2:$D$9</c:f>
              <c:numCache>
                <c:formatCode>General</c:formatCode>
                <c:ptCount val="8"/>
                <c:pt idx="0">
                  <c:v>1.4402140900664686</c:v>
                </c:pt>
                <c:pt idx="1">
                  <c:v>0.93865931526322544</c:v>
                </c:pt>
                <c:pt idx="2">
                  <c:v>1.3407924301939151</c:v>
                </c:pt>
                <c:pt idx="3">
                  <c:v>0.96509106172098758</c:v>
                </c:pt>
                <c:pt idx="4">
                  <c:v>1.8424049687297099</c:v>
                </c:pt>
                <c:pt idx="5">
                  <c:v>1.2781386177248599</c:v>
                </c:pt>
                <c:pt idx="6">
                  <c:v>1.2363922422506215</c:v>
                </c:pt>
                <c:pt idx="7">
                  <c:v>0.83551450620189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E$2:$E$9</c:f>
              <c:numCache>
                <c:formatCode>General</c:formatCode>
                <c:ptCount val="8"/>
                <c:pt idx="0">
                  <c:v>0.24187398058043644</c:v>
                </c:pt>
                <c:pt idx="1">
                  <c:v>0.12979840224892567</c:v>
                </c:pt>
                <c:pt idx="2">
                  <c:v>0.20588761794211949</c:v>
                </c:pt>
                <c:pt idx="3">
                  <c:v>0.12515257869715557</c:v>
                </c:pt>
                <c:pt idx="4">
                  <c:v>0.20494905457327678</c:v>
                </c:pt>
                <c:pt idx="5">
                  <c:v>0.16248846862819938</c:v>
                </c:pt>
                <c:pt idx="6">
                  <c:v>0.12333911798344149</c:v>
                </c:pt>
                <c:pt idx="7">
                  <c:v>0.1864788801033147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3.36</c:v>
                </c:pt>
                <c:pt idx="4">
                  <c:v>Av Price/Unit 3.39</c:v>
                </c:pt>
                <c:pt idx="5">
                  <c:v>Av Price/Unit 1.75</c:v>
                </c:pt>
                <c:pt idx="6">
                  <c:v>Av Price/Unit 2.36</c:v>
                </c:pt>
                <c:pt idx="7">
                  <c:v>Av Price/Unit 2.26</c:v>
                </c:pt>
                <c:pt idx="8">
                  <c:v>Av Price/Unit 2.37</c:v>
                </c:pt>
                <c:pt idx="9">
                  <c:v>Av Price/Unit 2.33</c:v>
                </c:pt>
                <c:pt idx="10">
                  <c:v>Av Price/Unit 3.32</c:v>
                </c:pt>
                <c:pt idx="11">
                  <c:v>Av Price/Unit 2.27</c:v>
                </c:pt>
              </c:strCache>
            </c:strRef>
          </c:cat>
          <c:val>
            <c:numRef>
              <c:f>Sheet1!$B$2:$B$13</c:f>
              <c:numCache>
                <c:formatCode>General</c:formatCode>
                <c:ptCount val="12"/>
                <c:pt idx="0">
                  <c:v>0.42012280520508982</c:v>
                </c:pt>
                <c:pt idx="1">
                  <c:v>0.433677487269715</c:v>
                </c:pt>
                <c:pt idx="2">
                  <c:v>0.42327455357700045</c:v>
                </c:pt>
                <c:pt idx="3">
                  <c:v>0.51116316721880162</c:v>
                </c:pt>
                <c:pt idx="4">
                  <c:v>0.43074293657091739</c:v>
                </c:pt>
                <c:pt idx="5">
                  <c:v>0.3485742495752312</c:v>
                </c:pt>
                <c:pt idx="6">
                  <c:v>0.3953068660208956</c:v>
                </c:pt>
                <c:pt idx="7">
                  <c:v>0.27710899523586008</c:v>
                </c:pt>
                <c:pt idx="8">
                  <c:v>0.40460871232362994</c:v>
                </c:pt>
                <c:pt idx="9">
                  <c:v>0.37919900108806098</c:v>
                </c:pt>
                <c:pt idx="10">
                  <c:v>0.19363882496228027</c:v>
                </c:pt>
                <c:pt idx="11">
                  <c:v>0.4576185941869955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3.36</c:v>
                </c:pt>
                <c:pt idx="4">
                  <c:v>Av Price/Unit 3.39</c:v>
                </c:pt>
                <c:pt idx="5">
                  <c:v>Av Price/Unit 1.75</c:v>
                </c:pt>
                <c:pt idx="6">
                  <c:v>Av Price/Unit 2.36</c:v>
                </c:pt>
                <c:pt idx="7">
                  <c:v>Av Price/Unit 2.26</c:v>
                </c:pt>
                <c:pt idx="8">
                  <c:v>Av Price/Unit 2.37</c:v>
                </c:pt>
                <c:pt idx="9">
                  <c:v>Av Price/Unit 2.33</c:v>
                </c:pt>
                <c:pt idx="10">
                  <c:v>Av Price/Unit 3.32</c:v>
                </c:pt>
                <c:pt idx="11">
                  <c:v>Av Price/Unit 2.27</c:v>
                </c:pt>
              </c:strCache>
            </c:strRef>
          </c:cat>
          <c:val>
            <c:numRef>
              <c:f>Sheet1!$C$2:$C$13</c:f>
              <c:numCache>
                <c:formatCode>General</c:formatCode>
                <c:ptCount val="12"/>
                <c:pt idx="0">
                  <c:v>1.0606184662803047</c:v>
                </c:pt>
                <c:pt idx="1">
                  <c:v>1.500939785214487</c:v>
                </c:pt>
                <c:pt idx="2">
                  <c:v>0.89905207097479345</c:v>
                </c:pt>
                <c:pt idx="3">
                  <c:v>1.3856637456850773</c:v>
                </c:pt>
                <c:pt idx="4">
                  <c:v>1.3760727293864328</c:v>
                </c:pt>
                <c:pt idx="5">
                  <c:v>0.6411008684160846</c:v>
                </c:pt>
                <c:pt idx="6">
                  <c:v>0.87247499745887147</c:v>
                </c:pt>
                <c:pt idx="7">
                  <c:v>0.816096402285723</c:v>
                </c:pt>
                <c:pt idx="8">
                  <c:v>0.92758385365396356</c:v>
                </c:pt>
                <c:pt idx="9">
                  <c:v>0.88055412729482552</c:v>
                </c:pt>
                <c:pt idx="10">
                  <c:v>1.7301012197560486</c:v>
                </c:pt>
                <c:pt idx="11">
                  <c:v>0.8549284103226324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3.36</c:v>
                </c:pt>
                <c:pt idx="4">
                  <c:v>Av Price/Unit 3.39</c:v>
                </c:pt>
                <c:pt idx="5">
                  <c:v>Av Price/Unit 1.75</c:v>
                </c:pt>
                <c:pt idx="6">
                  <c:v>Av Price/Unit 2.36</c:v>
                </c:pt>
                <c:pt idx="7">
                  <c:v>Av Price/Unit 2.26</c:v>
                </c:pt>
                <c:pt idx="8">
                  <c:v>Av Price/Unit 2.37</c:v>
                </c:pt>
                <c:pt idx="9">
                  <c:v>Av Price/Unit 2.33</c:v>
                </c:pt>
                <c:pt idx="10">
                  <c:v>Av Price/Unit 3.32</c:v>
                </c:pt>
                <c:pt idx="11">
                  <c:v>Av Price/Unit 2.27</c:v>
                </c:pt>
              </c:strCache>
            </c:strRef>
          </c:cat>
          <c:val>
            <c:numRef>
              <c:f>Sheet1!$D$2:$D$13</c:f>
              <c:numCache>
                <c:formatCode>General</c:formatCode>
                <c:ptCount val="12"/>
                <c:pt idx="0">
                  <c:v>0.82266446394684589</c:v>
                </c:pt>
                <c:pt idx="1">
                  <c:v>1.1521241036449539</c:v>
                </c:pt>
                <c:pt idx="2">
                  <c:v>0.74879604952620782</c:v>
                </c:pt>
                <c:pt idx="3">
                  <c:v>1.2872076128279848</c:v>
                </c:pt>
                <c:pt idx="4">
                  <c:v>1.4019280760585859</c:v>
                </c:pt>
                <c:pt idx="5">
                  <c:v>0.66721016021273116</c:v>
                </c:pt>
                <c:pt idx="6">
                  <c:v>0.97322231381046653</c:v>
                </c:pt>
                <c:pt idx="7">
                  <c:v>1.0498914491552349</c:v>
                </c:pt>
                <c:pt idx="8">
                  <c:v>0.91229970208139433</c:v>
                </c:pt>
                <c:pt idx="9">
                  <c:v>0.94516487353658163</c:v>
                </c:pt>
                <c:pt idx="10">
                  <c:v>1.2272066724440542</c:v>
                </c:pt>
                <c:pt idx="11">
                  <c:v>0.8422817641361817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3.36</c:v>
                </c:pt>
                <c:pt idx="4">
                  <c:v>Av Price/Unit 3.39</c:v>
                </c:pt>
                <c:pt idx="5">
                  <c:v>Av Price/Unit 1.75</c:v>
                </c:pt>
                <c:pt idx="6">
                  <c:v>Av Price/Unit 2.36</c:v>
                </c:pt>
                <c:pt idx="7">
                  <c:v>Av Price/Unit 2.26</c:v>
                </c:pt>
                <c:pt idx="8">
                  <c:v>Av Price/Unit 2.37</c:v>
                </c:pt>
                <c:pt idx="9">
                  <c:v>Av Price/Unit 2.33</c:v>
                </c:pt>
                <c:pt idx="10">
                  <c:v>Av Price/Unit 3.32</c:v>
                </c:pt>
                <c:pt idx="11">
                  <c:v>Av Price/Unit 2.27</c:v>
                </c:pt>
              </c:strCache>
            </c:strRef>
          </c:cat>
          <c:val>
            <c:numRef>
              <c:f>Sheet1!$E$2:$E$13</c:f>
              <c:numCache>
                <c:formatCode>General</c:formatCode>
                <c:ptCount val="12"/>
                <c:pt idx="0">
                  <c:v>0.12668731544877293</c:v>
                </c:pt>
                <c:pt idx="1">
                  <c:v>0.16976777881387045</c:v>
                </c:pt>
                <c:pt idx="2">
                  <c:v>0.11391174707429051</c:v>
                </c:pt>
                <c:pt idx="3">
                  <c:v>0.1751189827078386</c:v>
                </c:pt>
                <c:pt idx="4">
                  <c:v>0.17648090581087633</c:v>
                </c:pt>
                <c:pt idx="5">
                  <c:v>9.1125832834732134E-2</c:v>
                </c:pt>
                <c:pt idx="6">
                  <c:v>0.12325522975096254</c:v>
                </c:pt>
                <c:pt idx="7">
                  <c:v>0.11786785688041893</c:v>
                </c:pt>
                <c:pt idx="8">
                  <c:v>0.12344707474324408</c:v>
                </c:pt>
                <c:pt idx="9">
                  <c:v>0.12127049010557099</c:v>
                </c:pt>
                <c:pt idx="10">
                  <c:v>0.17330206944393153</c:v>
                </c:pt>
                <c:pt idx="11">
                  <c:v>0.11851558227551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2.95</c:v>
                </c:pt>
                <c:pt idx="1">
                  <c:v>Av Price/Unit 5.21</c:v>
                </c:pt>
                <c:pt idx="2">
                  <c:v>Av Price/Unit 2.21</c:v>
                </c:pt>
                <c:pt idx="3">
                  <c:v>Av Price/Unit 3.64</c:v>
                </c:pt>
                <c:pt idx="4">
                  <c:v>Av Price/Unit 2.37</c:v>
                </c:pt>
                <c:pt idx="5">
                  <c:v>Av Price/Unit 2.70</c:v>
                </c:pt>
                <c:pt idx="6">
                  <c:v>Av Price/Unit 3.90</c:v>
                </c:pt>
                <c:pt idx="7">
                  <c:v>Av Price/Unit 2.98</c:v>
                </c:pt>
              </c:strCache>
            </c:strRef>
          </c:cat>
          <c:val>
            <c:numRef>
              <c:f>Sheet1!$B$2:$B$9</c:f>
              <c:numCache>
                <c:formatCode>General</c:formatCode>
                <c:ptCount val="8"/>
                <c:pt idx="0">
                  <c:v>0.80823054354932211</c:v>
                </c:pt>
                <c:pt idx="1">
                  <c:v>1.1325946747246518</c:v>
                </c:pt>
                <c:pt idx="2">
                  <c:v>0.65689971538957304</c:v>
                </c:pt>
                <c:pt idx="3">
                  <c:v>0.91838600243808866</c:v>
                </c:pt>
                <c:pt idx="4">
                  <c:v>0.60218469281829257</c:v>
                </c:pt>
                <c:pt idx="5">
                  <c:v>0.4472621584311946</c:v>
                </c:pt>
                <c:pt idx="6">
                  <c:v>0.56200000000000017</c:v>
                </c:pt>
                <c:pt idx="7">
                  <c:v>0.5559719195305951</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2.95</c:v>
                </c:pt>
                <c:pt idx="1">
                  <c:v>Av Price/Unit 5.21</c:v>
                </c:pt>
                <c:pt idx="2">
                  <c:v>Av Price/Unit 2.21</c:v>
                </c:pt>
                <c:pt idx="3">
                  <c:v>Av Price/Unit 3.64</c:v>
                </c:pt>
                <c:pt idx="4">
                  <c:v>Av Price/Unit 2.37</c:v>
                </c:pt>
                <c:pt idx="5">
                  <c:v>Av Price/Unit 2.70</c:v>
                </c:pt>
                <c:pt idx="6">
                  <c:v>Av Price/Unit 3.90</c:v>
                </c:pt>
                <c:pt idx="7">
                  <c:v>Av Price/Unit 2.98</c:v>
                </c:pt>
              </c:strCache>
            </c:strRef>
          </c:cat>
          <c:val>
            <c:numRef>
              <c:f>Sheet1!$C$2:$C$9</c:f>
              <c:numCache>
                <c:formatCode>General</c:formatCode>
                <c:ptCount val="8"/>
                <c:pt idx="0">
                  <c:v>1.0765426830204361</c:v>
                </c:pt>
                <c:pt idx="1">
                  <c:v>2.0843824489038418</c:v>
                </c:pt>
                <c:pt idx="2">
                  <c:v>0.70831983836852475</c:v>
                </c:pt>
                <c:pt idx="3">
                  <c:v>1.2758195696096801</c:v>
                </c:pt>
                <c:pt idx="4">
                  <c:v>0.81602908669495089</c:v>
                </c:pt>
                <c:pt idx="5">
                  <c:v>0.88777462982923927</c:v>
                </c:pt>
                <c:pt idx="6">
                  <c:v>2.1046</c:v>
                </c:pt>
                <c:pt idx="7">
                  <c:v>0.8742574053775229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2.95</c:v>
                </c:pt>
                <c:pt idx="1">
                  <c:v>Av Price/Unit 5.21</c:v>
                </c:pt>
                <c:pt idx="2">
                  <c:v>Av Price/Unit 2.21</c:v>
                </c:pt>
                <c:pt idx="3">
                  <c:v>Av Price/Unit 3.64</c:v>
                </c:pt>
                <c:pt idx="4">
                  <c:v>Av Price/Unit 2.37</c:v>
                </c:pt>
                <c:pt idx="5">
                  <c:v>Av Price/Unit 2.70</c:v>
                </c:pt>
                <c:pt idx="6">
                  <c:v>Av Price/Unit 3.90</c:v>
                </c:pt>
                <c:pt idx="7">
                  <c:v>Av Price/Unit 2.98</c:v>
                </c:pt>
              </c:strCache>
            </c:strRef>
          </c:cat>
          <c:val>
            <c:numRef>
              <c:f>Sheet1!$D$2:$D$9</c:f>
              <c:numCache>
                <c:formatCode>General</c:formatCode>
                <c:ptCount val="8"/>
                <c:pt idx="0">
                  <c:v>0.91136693461676654</c:v>
                </c:pt>
                <c:pt idx="1">
                  <c:v>1.7209695258333655</c:v>
                </c:pt>
                <c:pt idx="2">
                  <c:v>0.73314203111871601</c:v>
                </c:pt>
                <c:pt idx="3">
                  <c:v>1.2553609953713978</c:v>
                </c:pt>
                <c:pt idx="4">
                  <c:v>0.82704188777823129</c:v>
                </c:pt>
                <c:pt idx="5">
                  <c:v>1.219643570960975</c:v>
                </c:pt>
                <c:pt idx="6">
                  <c:v>1.0345761975191361</c:v>
                </c:pt>
                <c:pt idx="7">
                  <c:v>1.3954804983744342</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2.95</c:v>
                </c:pt>
                <c:pt idx="1">
                  <c:v>Av Price/Unit 5.21</c:v>
                </c:pt>
                <c:pt idx="2">
                  <c:v>Av Price/Unit 2.21</c:v>
                </c:pt>
                <c:pt idx="3">
                  <c:v>Av Price/Unit 3.64</c:v>
                </c:pt>
                <c:pt idx="4">
                  <c:v>Av Price/Unit 2.37</c:v>
                </c:pt>
                <c:pt idx="5">
                  <c:v>Av Price/Unit 2.70</c:v>
                </c:pt>
                <c:pt idx="6">
                  <c:v>Av Price/Unit 3.90</c:v>
                </c:pt>
                <c:pt idx="7">
                  <c:v>Av Price/Unit 2.98</c:v>
                </c:pt>
              </c:strCache>
            </c:strRef>
          </c:cat>
          <c:val>
            <c:numRef>
              <c:f>Sheet1!$E$2:$E$9</c:f>
              <c:numCache>
                <c:formatCode>General</c:formatCode>
                <c:ptCount val="8"/>
                <c:pt idx="0">
                  <c:v>0.15379090345391935</c:v>
                </c:pt>
                <c:pt idx="1">
                  <c:v>0.27158786359143589</c:v>
                </c:pt>
                <c:pt idx="2">
                  <c:v>0.1154066476566291</c:v>
                </c:pt>
                <c:pt idx="3">
                  <c:v>0.18972616120805397</c:v>
                </c:pt>
                <c:pt idx="4">
                  <c:v>0.12348906170103169</c:v>
                </c:pt>
                <c:pt idx="5">
                  <c:v>0.1405108127811375</c:v>
                </c:pt>
                <c:pt idx="6">
                  <c:v>0.20356469086355219</c:v>
                </c:pt>
                <c:pt idx="7">
                  <c:v>0.1554140402805402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B$2:$B$9</c:f>
              <c:numCache>
                <c:formatCode>General</c:formatCode>
                <c:ptCount val="8"/>
                <c:pt idx="0">
                  <c:v>0.78152773524577102</c:v>
                </c:pt>
                <c:pt idx="1">
                  <c:v>0.56580556709380414</c:v>
                </c:pt>
                <c:pt idx="2">
                  <c:v>0.75869120950827296</c:v>
                </c:pt>
                <c:pt idx="3">
                  <c:v>0.52607364852715632</c:v>
                </c:pt>
                <c:pt idx="4">
                  <c:v>0.6563220164473168</c:v>
                </c:pt>
                <c:pt idx="5">
                  <c:v>0.64221659623138261</c:v>
                </c:pt>
                <c:pt idx="6">
                  <c:v>0.27122375731447601</c:v>
                </c:pt>
                <c:pt idx="7">
                  <c:v>0.4413815143725169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C$2:$C$9</c:f>
              <c:numCache>
                <c:formatCode>General</c:formatCode>
                <c:ptCount val="8"/>
                <c:pt idx="0">
                  <c:v>2.1759592025361942</c:v>
                </c:pt>
                <c:pt idx="1">
                  <c:v>0.85550606762343218</c:v>
                </c:pt>
                <c:pt idx="2">
                  <c:v>1.643927595609094</c:v>
                </c:pt>
                <c:pt idx="3">
                  <c:v>0.78439522978475873</c:v>
                </c:pt>
                <c:pt idx="4">
                  <c:v>1.2276194616098244</c:v>
                </c:pt>
                <c:pt idx="5">
                  <c:v>1.0339236349641951</c:v>
                </c:pt>
                <c:pt idx="6">
                  <c:v>0.73491341831565438</c:v>
                </c:pt>
                <c:pt idx="7">
                  <c:v>2.11362907221313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D$2:$D$9</c:f>
              <c:numCache>
                <c:formatCode>General</c:formatCode>
                <c:ptCount val="8"/>
                <c:pt idx="0">
                  <c:v>1.4402140900664686</c:v>
                </c:pt>
                <c:pt idx="1">
                  <c:v>0.93865931526322544</c:v>
                </c:pt>
                <c:pt idx="2">
                  <c:v>1.3407924301939151</c:v>
                </c:pt>
                <c:pt idx="3">
                  <c:v>0.96509106172098758</c:v>
                </c:pt>
                <c:pt idx="4">
                  <c:v>1.8424049687297099</c:v>
                </c:pt>
                <c:pt idx="5">
                  <c:v>1.2781386177248599</c:v>
                </c:pt>
                <c:pt idx="6">
                  <c:v>1.2363922422506215</c:v>
                </c:pt>
                <c:pt idx="7">
                  <c:v>0.83551450620189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E$2:$E$9</c:f>
              <c:numCache>
                <c:formatCode>General</c:formatCode>
                <c:ptCount val="8"/>
                <c:pt idx="0">
                  <c:v>0.24187398058043644</c:v>
                </c:pt>
                <c:pt idx="1">
                  <c:v>0.12979840224892567</c:v>
                </c:pt>
                <c:pt idx="2">
                  <c:v>0.20588761794211949</c:v>
                </c:pt>
                <c:pt idx="3">
                  <c:v>0.12515257869715557</c:v>
                </c:pt>
                <c:pt idx="4">
                  <c:v>0.20494905457327678</c:v>
                </c:pt>
                <c:pt idx="5">
                  <c:v>0.16248846862819938</c:v>
                </c:pt>
                <c:pt idx="6">
                  <c:v>0.12333911798344149</c:v>
                </c:pt>
                <c:pt idx="7">
                  <c:v>0.1864788801033147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4.31</c:v>
                </c:pt>
                <c:pt idx="1">
                  <c:v>Av Price/Unit 2.30</c:v>
                </c:pt>
                <c:pt idx="2">
                  <c:v>Av Price/Unit 2.98</c:v>
                </c:pt>
                <c:pt idx="3">
                  <c:v>Av Price/Unit 2.30</c:v>
                </c:pt>
                <c:pt idx="4">
                  <c:v>Av Price/Unit 3.60</c:v>
                </c:pt>
                <c:pt idx="5">
                  <c:v>Av Price/Unit 3.81</c:v>
                </c:pt>
                <c:pt idx="6">
                  <c:v>Av Price/Unit 2.41</c:v>
                </c:pt>
              </c:strCache>
            </c:strRef>
          </c:cat>
          <c:val>
            <c:numRef>
              <c:f>Sheet1!$B$2:$B$8</c:f>
              <c:numCache>
                <c:formatCode>General</c:formatCode>
                <c:ptCount val="7"/>
                <c:pt idx="0">
                  <c:v>0.44768392936454532</c:v>
                </c:pt>
                <c:pt idx="1">
                  <c:v>0.70532785966181388</c:v>
                </c:pt>
                <c:pt idx="2">
                  <c:v>0.89840014401087387</c:v>
                </c:pt>
                <c:pt idx="3">
                  <c:v>0.49149941700399163</c:v>
                </c:pt>
                <c:pt idx="4">
                  <c:v>0.98131117297386994</c:v>
                </c:pt>
                <c:pt idx="5">
                  <c:v>0.58088691080410593</c:v>
                </c:pt>
                <c:pt idx="6">
                  <c:v>0.590342425362342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4.31</c:v>
                </c:pt>
                <c:pt idx="1">
                  <c:v>Av Price/Unit 2.30</c:v>
                </c:pt>
                <c:pt idx="2">
                  <c:v>Av Price/Unit 2.98</c:v>
                </c:pt>
                <c:pt idx="3">
                  <c:v>Av Price/Unit 2.30</c:v>
                </c:pt>
                <c:pt idx="4">
                  <c:v>Av Price/Unit 3.60</c:v>
                </c:pt>
                <c:pt idx="5">
                  <c:v>Av Price/Unit 3.81</c:v>
                </c:pt>
                <c:pt idx="6">
                  <c:v>Av Price/Unit 2.41</c:v>
                </c:pt>
              </c:strCache>
            </c:strRef>
          </c:cat>
          <c:val>
            <c:numRef>
              <c:f>Sheet1!$C$2:$C$8</c:f>
              <c:numCache>
                <c:formatCode>General</c:formatCode>
                <c:ptCount val="7"/>
                <c:pt idx="0">
                  <c:v>2.0897984746469316</c:v>
                </c:pt>
                <c:pt idx="1">
                  <c:v>0.70819500246478551</c:v>
                </c:pt>
                <c:pt idx="2">
                  <c:v>1.0753005760434948</c:v>
                </c:pt>
                <c:pt idx="3">
                  <c:v>0.817004039123856</c:v>
                </c:pt>
                <c:pt idx="4">
                  <c:v>1.2742234848558796</c:v>
                </c:pt>
                <c:pt idx="5">
                  <c:v>2.0825806859822018</c:v>
                </c:pt>
                <c:pt idx="6">
                  <c:v>0.8878260645306426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4.31</c:v>
                </c:pt>
                <c:pt idx="1">
                  <c:v>Av Price/Unit 2.30</c:v>
                </c:pt>
                <c:pt idx="2">
                  <c:v>Av Price/Unit 2.98</c:v>
                </c:pt>
                <c:pt idx="3">
                  <c:v>Av Price/Unit 2.30</c:v>
                </c:pt>
                <c:pt idx="4">
                  <c:v>Av Price/Unit 3.60</c:v>
                </c:pt>
                <c:pt idx="5">
                  <c:v>Av Price/Unit 3.81</c:v>
                </c:pt>
                <c:pt idx="6">
                  <c:v>Av Price/Unit 2.41</c:v>
                </c:pt>
              </c:strCache>
            </c:strRef>
          </c:cat>
          <c:val>
            <c:numRef>
              <c:f>Sheet1!$D$2:$D$8</c:f>
              <c:numCache>
                <c:formatCode>General</c:formatCode>
                <c:ptCount val="7"/>
                <c:pt idx="0">
                  <c:v>1.5513200319444214</c:v>
                </c:pt>
                <c:pt idx="1">
                  <c:v>0.76295311781756636</c:v>
                </c:pt>
                <c:pt idx="2">
                  <c:v>0.85173917175321301</c:v>
                </c:pt>
                <c:pt idx="3">
                  <c:v>0.86836842405244052</c:v>
                </c:pt>
                <c:pt idx="4">
                  <c:v>1.1540341952706181</c:v>
                </c:pt>
                <c:pt idx="5">
                  <c:v>0.95094929720031063</c:v>
                </c:pt>
                <c:pt idx="6">
                  <c:v>0.8031756411629127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 Price/Unit 4.31</c:v>
                </c:pt>
                <c:pt idx="1">
                  <c:v>Av Price/Unit 2.30</c:v>
                </c:pt>
                <c:pt idx="2">
                  <c:v>Av Price/Unit 2.98</c:v>
                </c:pt>
                <c:pt idx="3">
                  <c:v>Av Price/Unit 2.30</c:v>
                </c:pt>
                <c:pt idx="4">
                  <c:v>Av Price/Unit 3.60</c:v>
                </c:pt>
                <c:pt idx="5">
                  <c:v>Av Price/Unit 3.81</c:v>
                </c:pt>
                <c:pt idx="6">
                  <c:v>Av Price/Unit 2.41</c:v>
                </c:pt>
              </c:strCache>
            </c:strRef>
          </c:cat>
          <c:val>
            <c:numRef>
              <c:f>Sheet1!$E$2:$E$8</c:f>
              <c:numCache>
                <c:formatCode>General</c:formatCode>
                <c:ptCount val="7"/>
                <c:pt idx="0">
                  <c:v>0.2248866866391093</c:v>
                </c:pt>
                <c:pt idx="1">
                  <c:v>0.11970617889692811</c:v>
                </c:pt>
                <c:pt idx="2">
                  <c:v>0.15540245689552826</c:v>
                </c:pt>
                <c:pt idx="3">
                  <c:v>0.11972795340991524</c:v>
                </c:pt>
                <c:pt idx="4">
                  <c:v>0.18752628692052045</c:v>
                </c:pt>
                <c:pt idx="5">
                  <c:v>0.19879292916926455</c:v>
                </c:pt>
                <c:pt idx="6">
                  <c:v>0.12547483606818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B$2:$B$13</c:f>
              <c:numCache>
                <c:formatCode>General</c:formatCode>
                <c:ptCount val="12"/>
                <c:pt idx="0">
                  <c:v>0.36657403774590719</c:v>
                </c:pt>
                <c:pt idx="1">
                  <c:v>0.71237720850370756</c:v>
                </c:pt>
                <c:pt idx="2">
                  <c:v>0.68745099455136882</c:v>
                </c:pt>
                <c:pt idx="3">
                  <c:v>0.5932216801020419</c:v>
                </c:pt>
                <c:pt idx="4">
                  <c:v>0.49344247852523382</c:v>
                </c:pt>
                <c:pt idx="5">
                  <c:v>0.54979218357834359</c:v>
                </c:pt>
                <c:pt idx="6">
                  <c:v>1.0472437877395642</c:v>
                </c:pt>
                <c:pt idx="7">
                  <c:v>0.83208068046245365</c:v>
                </c:pt>
                <c:pt idx="8">
                  <c:v>0.15696202443391591</c:v>
                </c:pt>
                <c:pt idx="9">
                  <c:v>0.48498151184655885</c:v>
                </c:pt>
                <c:pt idx="10">
                  <c:v>0.40926929057337219</c:v>
                </c:pt>
                <c:pt idx="11">
                  <c:v>0.8729263035019456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C$2:$C$13</c:f>
              <c:numCache>
                <c:formatCode>General</c:formatCode>
                <c:ptCount val="12"/>
                <c:pt idx="0">
                  <c:v>2.1789083844063493</c:v>
                </c:pt>
                <c:pt idx="1">
                  <c:v>1.6505914267571786</c:v>
                </c:pt>
                <c:pt idx="2">
                  <c:v>0.85576889978189818</c:v>
                </c:pt>
                <c:pt idx="3">
                  <c:v>0.78526705574076816</c:v>
                </c:pt>
                <c:pt idx="4">
                  <c:v>2.1706306856072715</c:v>
                </c:pt>
                <c:pt idx="5">
                  <c:v>0.56294668339906784</c:v>
                </c:pt>
                <c:pt idx="6">
                  <c:v>1.2280379085718036</c:v>
                </c:pt>
                <c:pt idx="7">
                  <c:v>1.0331690805002189</c:v>
                </c:pt>
                <c:pt idx="8">
                  <c:v>1.0677663946505254</c:v>
                </c:pt>
                <c:pt idx="9">
                  <c:v>0.73376330199323059</c:v>
                </c:pt>
                <c:pt idx="10">
                  <c:v>0.17399290573372206</c:v>
                </c:pt>
                <c:pt idx="11">
                  <c:v>1.120265525291828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D$2:$D$13</c:f>
              <c:numCache>
                <c:formatCode>General</c:formatCode>
                <c:ptCount val="12"/>
                <c:pt idx="0">
                  <c:v>1.1731560264618</c:v>
                </c:pt>
                <c:pt idx="1">
                  <c:v>1.1671085834761978</c:v>
                </c:pt>
                <c:pt idx="2">
                  <c:v>1.0767429446469361</c:v>
                </c:pt>
                <c:pt idx="3">
                  <c:v>0.78440011977545643</c:v>
                </c:pt>
                <c:pt idx="4">
                  <c:v>0.91144341649060845</c:v>
                </c:pt>
                <c:pt idx="5">
                  <c:v>0.78767561611976045</c:v>
                </c:pt>
                <c:pt idx="6">
                  <c:v>1.1691670338724456</c:v>
                </c:pt>
                <c:pt idx="7">
                  <c:v>1.1043233237031231</c:v>
                </c:pt>
                <c:pt idx="8">
                  <c:v>1.1503538036612952</c:v>
                </c:pt>
                <c:pt idx="9">
                  <c:v>0.92338537443253665</c:v>
                </c:pt>
                <c:pt idx="10">
                  <c:v>0.77035521482458946</c:v>
                </c:pt>
                <c:pt idx="11">
                  <c:v>1.37786727976838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E$2:$E$13</c:f>
              <c:numCache>
                <c:formatCode>General</c:formatCode>
                <c:ptCount val="12"/>
                <c:pt idx="0">
                  <c:v>0.20452290182866684</c:v>
                </c:pt>
                <c:pt idx="1">
                  <c:v>0.19415424703053977</c:v>
                </c:pt>
                <c:pt idx="2">
                  <c:v>0.14410028671414302</c:v>
                </c:pt>
                <c:pt idx="3">
                  <c:v>0.11895888705900444</c:v>
                </c:pt>
                <c:pt idx="4">
                  <c:v>0.19665341193427072</c:v>
                </c:pt>
                <c:pt idx="5">
                  <c:v>0.10452279657034387</c:v>
                </c:pt>
                <c:pt idx="6">
                  <c:v>0.18944468016010932</c:v>
                </c:pt>
                <c:pt idx="7">
                  <c:v>0.16332651965661771</c:v>
                </c:pt>
                <c:pt idx="8">
                  <c:v>0.13063285751223</c:v>
                </c:pt>
                <c:pt idx="9">
                  <c:v>0.11781716035497748</c:v>
                </c:pt>
                <c:pt idx="10">
                  <c:v>7.4446789548588452E-2</c:v>
                </c:pt>
                <c:pt idx="11">
                  <c:v>0.18540579416157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4.31</c:v>
                </c:pt>
                <c:pt idx="1">
                  <c:v>Av Price/Unit 2.30</c:v>
                </c:pt>
                <c:pt idx="2">
                  <c:v>Av Price/Unit 2.98</c:v>
                </c:pt>
                <c:pt idx="3">
                  <c:v>Av Price/Unit 2.30</c:v>
                </c:pt>
                <c:pt idx="4">
                  <c:v>Av Price/Unit 3.60</c:v>
                </c:pt>
                <c:pt idx="5">
                  <c:v>Av Price/Unit 3.81</c:v>
                </c:pt>
                <c:pt idx="6">
                  <c:v>Av Price/Unit 2.33</c:v>
                </c:pt>
                <c:pt idx="7">
                  <c:v>Av Price/Unit 3.30</c:v>
                </c:pt>
                <c:pt idx="8">
                  <c:v>Av Price/Unit 2.72</c:v>
                </c:pt>
                <c:pt idx="9">
                  <c:v>Av Price/Unit 2.41</c:v>
                </c:pt>
              </c:strCache>
            </c:strRef>
          </c:cat>
          <c:val>
            <c:numRef>
              <c:f>Sheet1!$B$2:$B$11</c:f>
              <c:numCache>
                <c:formatCode>General</c:formatCode>
                <c:ptCount val="10"/>
                <c:pt idx="0">
                  <c:v>0.44768392936454532</c:v>
                </c:pt>
                <c:pt idx="1">
                  <c:v>0.70532785966181388</c:v>
                </c:pt>
                <c:pt idx="2">
                  <c:v>0.89840014401087387</c:v>
                </c:pt>
                <c:pt idx="3">
                  <c:v>0.49149941700399163</c:v>
                </c:pt>
                <c:pt idx="4">
                  <c:v>0.98131117297386994</c:v>
                </c:pt>
                <c:pt idx="5">
                  <c:v>0.58088691080410593</c:v>
                </c:pt>
                <c:pt idx="6">
                  <c:v>0.51486084872729876</c:v>
                </c:pt>
                <c:pt idx="7">
                  <c:v>0.722055530047919</c:v>
                </c:pt>
                <c:pt idx="8">
                  <c:v>0.51313122164318525</c:v>
                </c:pt>
                <c:pt idx="9">
                  <c:v>0.590342425362342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4.31</c:v>
                </c:pt>
                <c:pt idx="1">
                  <c:v>Av Price/Unit 2.30</c:v>
                </c:pt>
                <c:pt idx="2">
                  <c:v>Av Price/Unit 2.98</c:v>
                </c:pt>
                <c:pt idx="3">
                  <c:v>Av Price/Unit 2.30</c:v>
                </c:pt>
                <c:pt idx="4">
                  <c:v>Av Price/Unit 3.60</c:v>
                </c:pt>
                <c:pt idx="5">
                  <c:v>Av Price/Unit 3.81</c:v>
                </c:pt>
                <c:pt idx="6">
                  <c:v>Av Price/Unit 2.33</c:v>
                </c:pt>
                <c:pt idx="7">
                  <c:v>Av Price/Unit 3.30</c:v>
                </c:pt>
                <c:pt idx="8">
                  <c:v>Av Price/Unit 2.72</c:v>
                </c:pt>
                <c:pt idx="9">
                  <c:v>Av Price/Unit 2.41</c:v>
                </c:pt>
              </c:strCache>
            </c:strRef>
          </c:cat>
          <c:val>
            <c:numRef>
              <c:f>Sheet1!$C$2:$C$11</c:f>
              <c:numCache>
                <c:formatCode>General</c:formatCode>
                <c:ptCount val="10"/>
                <c:pt idx="0">
                  <c:v>2.0897984746469316</c:v>
                </c:pt>
                <c:pt idx="1">
                  <c:v>0.70819500246478551</c:v>
                </c:pt>
                <c:pt idx="2">
                  <c:v>1.0753005760434948</c:v>
                </c:pt>
                <c:pt idx="3">
                  <c:v>0.817004039123856</c:v>
                </c:pt>
                <c:pt idx="4">
                  <c:v>1.2742234848558796</c:v>
                </c:pt>
                <c:pt idx="5">
                  <c:v>2.0825806859822018</c:v>
                </c:pt>
                <c:pt idx="6">
                  <c:v>0.76706892978793151</c:v>
                </c:pt>
                <c:pt idx="7">
                  <c:v>1.147879432854604</c:v>
                </c:pt>
                <c:pt idx="8">
                  <c:v>1.0616570802489076</c:v>
                </c:pt>
                <c:pt idx="9">
                  <c:v>0.8878260645306426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4.31</c:v>
                </c:pt>
                <c:pt idx="1">
                  <c:v>Av Price/Unit 2.30</c:v>
                </c:pt>
                <c:pt idx="2">
                  <c:v>Av Price/Unit 2.98</c:v>
                </c:pt>
                <c:pt idx="3">
                  <c:v>Av Price/Unit 2.30</c:v>
                </c:pt>
                <c:pt idx="4">
                  <c:v>Av Price/Unit 3.60</c:v>
                </c:pt>
                <c:pt idx="5">
                  <c:v>Av Price/Unit 3.81</c:v>
                </c:pt>
                <c:pt idx="6">
                  <c:v>Av Price/Unit 2.33</c:v>
                </c:pt>
                <c:pt idx="7">
                  <c:v>Av Price/Unit 3.30</c:v>
                </c:pt>
                <c:pt idx="8">
                  <c:v>Av Price/Unit 2.72</c:v>
                </c:pt>
                <c:pt idx="9">
                  <c:v>Av Price/Unit 2.41</c:v>
                </c:pt>
              </c:strCache>
            </c:strRef>
          </c:cat>
          <c:val>
            <c:numRef>
              <c:f>Sheet1!$D$2:$D$11</c:f>
              <c:numCache>
                <c:formatCode>General</c:formatCode>
                <c:ptCount val="10"/>
                <c:pt idx="0">
                  <c:v>1.5513200319444214</c:v>
                </c:pt>
                <c:pt idx="1">
                  <c:v>0.76295311781756636</c:v>
                </c:pt>
                <c:pt idx="2">
                  <c:v>0.85173917175321301</c:v>
                </c:pt>
                <c:pt idx="3">
                  <c:v>0.86836842405244052</c:v>
                </c:pt>
                <c:pt idx="4">
                  <c:v>1.1540341952706181</c:v>
                </c:pt>
                <c:pt idx="5">
                  <c:v>0.95094929720031063</c:v>
                </c:pt>
                <c:pt idx="6">
                  <c:v>0.9313761736766375</c:v>
                </c:pt>
                <c:pt idx="7">
                  <c:v>1.2577734734074431</c:v>
                </c:pt>
                <c:pt idx="8">
                  <c:v>1.000143200359277</c:v>
                </c:pt>
                <c:pt idx="9">
                  <c:v>0.8031756411629127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4.31</c:v>
                </c:pt>
                <c:pt idx="1">
                  <c:v>Av Price/Unit 2.30</c:v>
                </c:pt>
                <c:pt idx="2">
                  <c:v>Av Price/Unit 2.98</c:v>
                </c:pt>
                <c:pt idx="3">
                  <c:v>Av Price/Unit 2.30</c:v>
                </c:pt>
                <c:pt idx="4">
                  <c:v>Av Price/Unit 3.60</c:v>
                </c:pt>
                <c:pt idx="5">
                  <c:v>Av Price/Unit 3.81</c:v>
                </c:pt>
                <c:pt idx="6">
                  <c:v>Av Price/Unit 2.33</c:v>
                </c:pt>
                <c:pt idx="7">
                  <c:v>Av Price/Unit 3.30</c:v>
                </c:pt>
                <c:pt idx="8">
                  <c:v>Av Price/Unit 2.72</c:v>
                </c:pt>
                <c:pt idx="9">
                  <c:v>Av Price/Unit 2.41</c:v>
                </c:pt>
              </c:strCache>
            </c:strRef>
          </c:cat>
          <c:val>
            <c:numRef>
              <c:f>Sheet1!$E$2:$E$11</c:f>
              <c:numCache>
                <c:formatCode>General</c:formatCode>
                <c:ptCount val="10"/>
                <c:pt idx="0">
                  <c:v>0.2248866866391093</c:v>
                </c:pt>
                <c:pt idx="1">
                  <c:v>0.11970617889692811</c:v>
                </c:pt>
                <c:pt idx="2">
                  <c:v>0.15540245689552826</c:v>
                </c:pt>
                <c:pt idx="3">
                  <c:v>0.11972795340991524</c:v>
                </c:pt>
                <c:pt idx="4">
                  <c:v>0.18752628692052045</c:v>
                </c:pt>
                <c:pt idx="5">
                  <c:v>0.19879292916926455</c:v>
                </c:pt>
                <c:pt idx="6">
                  <c:v>0.12173054425093276</c:v>
                </c:pt>
                <c:pt idx="7">
                  <c:v>0.1720239639970475</c:v>
                </c:pt>
                <c:pt idx="8">
                  <c:v>0.14162371821189068</c:v>
                </c:pt>
                <c:pt idx="9">
                  <c:v>0.12547483606818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DF39025-CFCC-4E59-808A-249720D2B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BEA5A26-40F5-4BE7-97F4-F8560666B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7CB4238-ECF4-4581-99F5-021541D493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D314F45-EDBC-4780-BF3C-8EAABA21F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520DC3E-1FC2-4722-9584-60C02BD92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901A98EE-BD2C-4E08-A5A1-1398AFA94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27231E26-E1C5-4AE9-B2E7-3886F8338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71A1AF7C-9CBD-4C60-A868-B7BABC69F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9.1212999999999997</c:v>
                </c:pt>
                <c:pt idx="1">
                  <c:v>11.1976</c:v>
                </c:pt>
                <c:pt idx="2">
                  <c:v>6.5247999999999999</c:v>
                </c:pt>
                <c:pt idx="3">
                  <c:v>8.2765000000000004</c:v>
                </c:pt>
              </c:numCache>
            </c:numRef>
          </c:xVal>
          <c:yVal>
            <c:numRef>
              <c:f>Sheet1!$B$2:$B$5</c:f>
              <c:numCache>
                <c:formatCode>General</c:formatCode>
                <c:ptCount val="4"/>
                <c:pt idx="0">
                  <c:v>0.27039999999999997</c:v>
                </c:pt>
                <c:pt idx="1">
                  <c:v>0.41560000000000002</c:v>
                </c:pt>
                <c:pt idx="2">
                  <c:v>0.32169999999999999</c:v>
                </c:pt>
                <c:pt idx="3">
                  <c:v>0.4047</c:v>
                </c:pt>
              </c:numCache>
            </c:numRef>
          </c:yVal>
          <c:bubbleSize>
            <c:numRef>
              <c:f>Sheet1!$C$2:$C$5</c:f>
              <c:numCache>
                <c:formatCode>General</c:formatCode>
                <c:ptCount val="4"/>
                <c:pt idx="0">
                  <c:v>2386622.9827999999</c:v>
                </c:pt>
                <c:pt idx="1">
                  <c:v>3015794.5518999998</c:v>
                </c:pt>
                <c:pt idx="2">
                  <c:v>3275056.2296000002</c:v>
                </c:pt>
                <c:pt idx="3">
                  <c:v>2951124.8232</c:v>
                </c:pt>
              </c:numCache>
            </c:numRef>
          </c:bubbleSize>
          <c:bubble3D val="0"/>
          <c:extLst>
            <c:ext xmlns:c15="http://schemas.microsoft.com/office/drawing/2012/chart" uri="{02D57815-91ED-43cb-92C2-25804820EDAC}">
              <c15:datalabelsRange>
                <c15:f>Sheet1!$E$2:$E$29</c15:f>
                <c15:dlblRangeCache>
                  <c:ptCount val="28"/>
                  <c:pt idx="0">
                    <c:v>Boursin</c:v>
                  </c:pt>
                  <c:pt idx="1">
                    <c:v>Mini Babybel</c:v>
                  </c:pt>
                  <c:pt idx="2">
                    <c:v>La Vache Qui Rit</c:v>
                  </c:pt>
                  <c:pt idx="3">
                    <c:v>Kiri</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437119999999998"/>
          <c:min val="5.2198400000000005"/>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5658749797997702"/>
        <c:crossBetween val="midCat"/>
      </c:valAx>
      <c:valAx>
        <c:axId val="1011451359"/>
        <c:scaling>
          <c:orientation val="minMax"/>
          <c:max val="0.85872000000000004"/>
          <c:min val="-2.3680000000000014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71410566036773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B$2:$B$13</c:f>
              <c:numCache>
                <c:formatCode>General</c:formatCode>
                <c:ptCount val="12"/>
                <c:pt idx="0">
                  <c:v>0.36657403774590719</c:v>
                </c:pt>
                <c:pt idx="1">
                  <c:v>0.71237720850370756</c:v>
                </c:pt>
                <c:pt idx="2">
                  <c:v>0.68745099455136882</c:v>
                </c:pt>
                <c:pt idx="3">
                  <c:v>0.5932216801020419</c:v>
                </c:pt>
                <c:pt idx="4">
                  <c:v>0.49344247852523382</c:v>
                </c:pt>
                <c:pt idx="5">
                  <c:v>0.54979218357834359</c:v>
                </c:pt>
                <c:pt idx="6">
                  <c:v>1.0472437877395642</c:v>
                </c:pt>
                <c:pt idx="7">
                  <c:v>0.83208068046245365</c:v>
                </c:pt>
                <c:pt idx="8">
                  <c:v>0.15696202443391591</c:v>
                </c:pt>
                <c:pt idx="9">
                  <c:v>0.48498151184655885</c:v>
                </c:pt>
                <c:pt idx="10">
                  <c:v>0.40926929057337219</c:v>
                </c:pt>
                <c:pt idx="11">
                  <c:v>0.8729263035019456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C$2:$C$13</c:f>
              <c:numCache>
                <c:formatCode>General</c:formatCode>
                <c:ptCount val="12"/>
                <c:pt idx="0">
                  <c:v>2.1789083844063493</c:v>
                </c:pt>
                <c:pt idx="1">
                  <c:v>1.6505914267571786</c:v>
                </c:pt>
                <c:pt idx="2">
                  <c:v>0.85576889978189818</c:v>
                </c:pt>
                <c:pt idx="3">
                  <c:v>0.78526705574076816</c:v>
                </c:pt>
                <c:pt idx="4">
                  <c:v>2.1706306856072715</c:v>
                </c:pt>
                <c:pt idx="5">
                  <c:v>0.56294668339906784</c:v>
                </c:pt>
                <c:pt idx="6">
                  <c:v>1.2280379085718036</c:v>
                </c:pt>
                <c:pt idx="7">
                  <c:v>1.0331690805002189</c:v>
                </c:pt>
                <c:pt idx="8">
                  <c:v>1.0677663946505254</c:v>
                </c:pt>
                <c:pt idx="9">
                  <c:v>0.73376330199323059</c:v>
                </c:pt>
                <c:pt idx="10">
                  <c:v>0.17399290573372206</c:v>
                </c:pt>
                <c:pt idx="11">
                  <c:v>1.120265525291828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D$2:$D$13</c:f>
              <c:numCache>
                <c:formatCode>General</c:formatCode>
                <c:ptCount val="12"/>
                <c:pt idx="0">
                  <c:v>1.1731560264618</c:v>
                </c:pt>
                <c:pt idx="1">
                  <c:v>1.1671085834761978</c:v>
                </c:pt>
                <c:pt idx="2">
                  <c:v>1.0767429446469361</c:v>
                </c:pt>
                <c:pt idx="3">
                  <c:v>0.78440011977545643</c:v>
                </c:pt>
                <c:pt idx="4">
                  <c:v>0.91144341649060845</c:v>
                </c:pt>
                <c:pt idx="5">
                  <c:v>0.78767561611976045</c:v>
                </c:pt>
                <c:pt idx="6">
                  <c:v>1.1691670338724456</c:v>
                </c:pt>
                <c:pt idx="7">
                  <c:v>1.1043233237031231</c:v>
                </c:pt>
                <c:pt idx="8">
                  <c:v>1.1503538036612952</c:v>
                </c:pt>
                <c:pt idx="9">
                  <c:v>0.92338537443253665</c:v>
                </c:pt>
                <c:pt idx="10">
                  <c:v>0.77035521482458946</c:v>
                </c:pt>
                <c:pt idx="11">
                  <c:v>1.37786727976838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E$2:$E$13</c:f>
              <c:numCache>
                <c:formatCode>General</c:formatCode>
                <c:ptCount val="12"/>
                <c:pt idx="0">
                  <c:v>0.20452290182866684</c:v>
                </c:pt>
                <c:pt idx="1">
                  <c:v>0.19415424703053977</c:v>
                </c:pt>
                <c:pt idx="2">
                  <c:v>0.14410028671414302</c:v>
                </c:pt>
                <c:pt idx="3">
                  <c:v>0.11895888705900444</c:v>
                </c:pt>
                <c:pt idx="4">
                  <c:v>0.19665341193427072</c:v>
                </c:pt>
                <c:pt idx="5">
                  <c:v>0.10452279657034387</c:v>
                </c:pt>
                <c:pt idx="6">
                  <c:v>0.18944468016010932</c:v>
                </c:pt>
                <c:pt idx="7">
                  <c:v>0.16332651965661771</c:v>
                </c:pt>
                <c:pt idx="8">
                  <c:v>0.13063285751223</c:v>
                </c:pt>
                <c:pt idx="9">
                  <c:v>0.11781716035497748</c:v>
                </c:pt>
                <c:pt idx="10">
                  <c:v>7.4446789548588452E-2</c:v>
                </c:pt>
                <c:pt idx="11">
                  <c:v>0.18540579416157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52</c:v>
                </c:pt>
                <c:pt idx="3">
                  <c:v>Av Price/Unit 3.42</c:v>
                </c:pt>
                <c:pt idx="4">
                  <c:v>Av Price/Unit 2.32</c:v>
                </c:pt>
                <c:pt idx="5">
                  <c:v>Av Price/Unit 3.37</c:v>
                </c:pt>
                <c:pt idx="6">
                  <c:v>Av Price/Unit 1.66</c:v>
                </c:pt>
                <c:pt idx="7">
                  <c:v>Av Price/Unit 2.15</c:v>
                </c:pt>
                <c:pt idx="8">
                  <c:v>Av Price/Unit 2.13</c:v>
                </c:pt>
                <c:pt idx="9">
                  <c:v>Av Price/Unit 2.31</c:v>
                </c:pt>
                <c:pt idx="10">
                  <c:v>Av Price/Unit 2.11</c:v>
                </c:pt>
                <c:pt idx="11">
                  <c:v>Av Price/Unit 2.06</c:v>
                </c:pt>
              </c:strCache>
            </c:strRef>
          </c:cat>
          <c:val>
            <c:numRef>
              <c:f>Sheet1!$B$2:$B$13</c:f>
              <c:numCache>
                <c:formatCode>General</c:formatCode>
                <c:ptCount val="12"/>
                <c:pt idx="0">
                  <c:v>0.52949882280513305</c:v>
                </c:pt>
                <c:pt idx="1">
                  <c:v>0.52897620446062821</c:v>
                </c:pt>
                <c:pt idx="2">
                  <c:v>0.76064090430809017</c:v>
                </c:pt>
                <c:pt idx="3">
                  <c:v>0.64024583557505954</c:v>
                </c:pt>
                <c:pt idx="4">
                  <c:v>0.45863882742205797</c:v>
                </c:pt>
                <c:pt idx="5">
                  <c:v>0.71030432902177276</c:v>
                </c:pt>
                <c:pt idx="6">
                  <c:v>0.37396960825632253</c:v>
                </c:pt>
                <c:pt idx="7">
                  <c:v>0.45248376840644045</c:v>
                </c:pt>
                <c:pt idx="8">
                  <c:v>0.43111069258852941</c:v>
                </c:pt>
                <c:pt idx="9">
                  <c:v>0.47997967913880701</c:v>
                </c:pt>
                <c:pt idx="10">
                  <c:v>0.23614496095238097</c:v>
                </c:pt>
                <c:pt idx="11">
                  <c:v>0.1675641625345025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52</c:v>
                </c:pt>
                <c:pt idx="3">
                  <c:v>Av Price/Unit 3.42</c:v>
                </c:pt>
                <c:pt idx="4">
                  <c:v>Av Price/Unit 2.32</c:v>
                </c:pt>
                <c:pt idx="5">
                  <c:v>Av Price/Unit 3.37</c:v>
                </c:pt>
                <c:pt idx="6">
                  <c:v>Av Price/Unit 1.66</c:v>
                </c:pt>
                <c:pt idx="7">
                  <c:v>Av Price/Unit 2.15</c:v>
                </c:pt>
                <c:pt idx="8">
                  <c:v>Av Price/Unit 2.13</c:v>
                </c:pt>
                <c:pt idx="9">
                  <c:v>Av Price/Unit 2.31</c:v>
                </c:pt>
                <c:pt idx="10">
                  <c:v>Av Price/Unit 2.11</c:v>
                </c:pt>
                <c:pt idx="11">
                  <c:v>Av Price/Unit 2.06</c:v>
                </c:pt>
              </c:strCache>
            </c:strRef>
          </c:cat>
          <c:val>
            <c:numRef>
              <c:f>Sheet1!$C$2:$C$13</c:f>
              <c:numCache>
                <c:formatCode>General</c:formatCode>
                <c:ptCount val="12"/>
                <c:pt idx="0">
                  <c:v>0.89925968279527502</c:v>
                </c:pt>
                <c:pt idx="1">
                  <c:v>1.0629143262898952</c:v>
                </c:pt>
                <c:pt idx="2">
                  <c:v>1.3839067793043325</c:v>
                </c:pt>
                <c:pt idx="3">
                  <c:v>1.5017285332304842</c:v>
                </c:pt>
                <c:pt idx="4">
                  <c:v>0.87549184992434137</c:v>
                </c:pt>
                <c:pt idx="5">
                  <c:v>1.3755382533478397</c:v>
                </c:pt>
                <c:pt idx="6">
                  <c:v>0.6443705578761687</c:v>
                </c:pt>
                <c:pt idx="7">
                  <c:v>0.87948727181616437</c:v>
                </c:pt>
                <c:pt idx="8">
                  <c:v>0.81503290398000128</c:v>
                </c:pt>
                <c:pt idx="9">
                  <c:v>0.93172191264981685</c:v>
                </c:pt>
                <c:pt idx="10">
                  <c:v>0.91286584095238099</c:v>
                </c:pt>
                <c:pt idx="11">
                  <c:v>0.9148116172842523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52</c:v>
                </c:pt>
                <c:pt idx="3">
                  <c:v>Av Price/Unit 3.42</c:v>
                </c:pt>
                <c:pt idx="4">
                  <c:v>Av Price/Unit 2.32</c:v>
                </c:pt>
                <c:pt idx="5">
                  <c:v>Av Price/Unit 3.37</c:v>
                </c:pt>
                <c:pt idx="6">
                  <c:v>Av Price/Unit 1.66</c:v>
                </c:pt>
                <c:pt idx="7">
                  <c:v>Av Price/Unit 2.15</c:v>
                </c:pt>
                <c:pt idx="8">
                  <c:v>Av Price/Unit 2.13</c:v>
                </c:pt>
                <c:pt idx="9">
                  <c:v>Av Price/Unit 2.31</c:v>
                </c:pt>
                <c:pt idx="10">
                  <c:v>Av Price/Unit 2.11</c:v>
                </c:pt>
                <c:pt idx="11">
                  <c:v>Av Price/Unit 2.06</c:v>
                </c:pt>
              </c:strCache>
            </c:strRef>
          </c:cat>
          <c:val>
            <c:numRef>
              <c:f>Sheet1!$D$2:$D$13</c:f>
              <c:numCache>
                <c:formatCode>General</c:formatCode>
                <c:ptCount val="12"/>
                <c:pt idx="0">
                  <c:v>0.74344564266131496</c:v>
                </c:pt>
                <c:pt idx="1">
                  <c:v>0.85060663013449256</c:v>
                </c:pt>
                <c:pt idx="2">
                  <c:v>1.1879625860423317</c:v>
                </c:pt>
                <c:pt idx="3">
                  <c:v>1.0997173008991594</c:v>
                </c:pt>
                <c:pt idx="4">
                  <c:v>0.86230876864442729</c:v>
                </c:pt>
                <c:pt idx="5">
                  <c:v>1.107517012073401</c:v>
                </c:pt>
                <c:pt idx="6">
                  <c:v>0.55094168839484703</c:v>
                </c:pt>
                <c:pt idx="7">
                  <c:v>0.70137171625664174</c:v>
                </c:pt>
                <c:pt idx="8">
                  <c:v>0.77666314448408924</c:v>
                </c:pt>
                <c:pt idx="9">
                  <c:v>0.77710787503935719</c:v>
                </c:pt>
                <c:pt idx="10">
                  <c:v>0.85400431883547778</c:v>
                </c:pt>
                <c:pt idx="11">
                  <c:v>0.8749925345465434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52</c:v>
                </c:pt>
                <c:pt idx="3">
                  <c:v>Av Price/Unit 3.42</c:v>
                </c:pt>
                <c:pt idx="4">
                  <c:v>Av Price/Unit 2.32</c:v>
                </c:pt>
                <c:pt idx="5">
                  <c:v>Av Price/Unit 3.37</c:v>
                </c:pt>
                <c:pt idx="6">
                  <c:v>Av Price/Unit 1.66</c:v>
                </c:pt>
                <c:pt idx="7">
                  <c:v>Av Price/Unit 2.15</c:v>
                </c:pt>
                <c:pt idx="8">
                  <c:v>Av Price/Unit 2.13</c:v>
                </c:pt>
                <c:pt idx="9">
                  <c:v>Av Price/Unit 2.31</c:v>
                </c:pt>
                <c:pt idx="10">
                  <c:v>Av Price/Unit 2.11</c:v>
                </c:pt>
                <c:pt idx="11">
                  <c:v>Av Price/Unit 2.06</c:v>
                </c:pt>
              </c:strCache>
            </c:strRef>
          </c:cat>
          <c:val>
            <c:numRef>
              <c:f>Sheet1!$E$2:$E$13</c:f>
              <c:numCache>
                <c:formatCode>General</c:formatCode>
                <c:ptCount val="12"/>
                <c:pt idx="0">
                  <c:v>0.11947672815439424</c:v>
                </c:pt>
                <c:pt idx="1">
                  <c:v>0.13433734384867543</c:v>
                </c:pt>
                <c:pt idx="2">
                  <c:v>0.18328806483101157</c:v>
                </c:pt>
                <c:pt idx="3">
                  <c:v>0.17829001350212123</c:v>
                </c:pt>
                <c:pt idx="4">
                  <c:v>0.12080416952949588</c:v>
                </c:pt>
                <c:pt idx="5">
                  <c:v>0.17563477769436556</c:v>
                </c:pt>
                <c:pt idx="6">
                  <c:v>8.6307339213463355E-2</c:v>
                </c:pt>
                <c:pt idx="7">
                  <c:v>0.11183638989144364</c:v>
                </c:pt>
                <c:pt idx="8">
                  <c:v>0.11125437075789402</c:v>
                </c:pt>
                <c:pt idx="9">
                  <c:v>0.12038452067553918</c:v>
                </c:pt>
                <c:pt idx="10">
                  <c:v>0.11016583164071282</c:v>
                </c:pt>
                <c:pt idx="11">
                  <c:v>0.1076552572900915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52</c:v>
                </c:pt>
                <c:pt idx="1">
                  <c:v>Av Price/Unit 3.37</c:v>
                </c:pt>
                <c:pt idx="2">
                  <c:v>Av Price/Unit 3.56</c:v>
                </c:pt>
                <c:pt idx="3">
                  <c:v>Av Price/Unit 3.13</c:v>
                </c:pt>
              </c:strCache>
            </c:strRef>
          </c:cat>
          <c:val>
            <c:numRef>
              <c:f>Sheet1!$B$2:$B$5</c:f>
              <c:numCache>
                <c:formatCode>General</c:formatCode>
                <c:ptCount val="4"/>
                <c:pt idx="0">
                  <c:v>0.76064090430809017</c:v>
                </c:pt>
                <c:pt idx="1">
                  <c:v>0.71030432902177276</c:v>
                </c:pt>
                <c:pt idx="2">
                  <c:v>0.45539999999999997</c:v>
                </c:pt>
                <c:pt idx="3">
                  <c:v>-4.4848794848206065E-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52</c:v>
                </c:pt>
                <c:pt idx="1">
                  <c:v>Av Price/Unit 3.37</c:v>
                </c:pt>
                <c:pt idx="2">
                  <c:v>Av Price/Unit 3.56</c:v>
                </c:pt>
                <c:pt idx="3">
                  <c:v>Av Price/Unit 3.13</c:v>
                </c:pt>
              </c:strCache>
            </c:strRef>
          </c:cat>
          <c:val>
            <c:numRef>
              <c:f>Sheet1!$C$2:$C$5</c:f>
              <c:numCache>
                <c:formatCode>General</c:formatCode>
                <c:ptCount val="4"/>
                <c:pt idx="0">
                  <c:v>1.3839067793043325</c:v>
                </c:pt>
                <c:pt idx="1">
                  <c:v>1.3755382533478397</c:v>
                </c:pt>
                <c:pt idx="2">
                  <c:v>1.4844999999999999</c:v>
                </c:pt>
                <c:pt idx="3">
                  <c:v>1.46542919349892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52</c:v>
                </c:pt>
                <c:pt idx="1">
                  <c:v>Av Price/Unit 3.37</c:v>
                </c:pt>
                <c:pt idx="2">
                  <c:v>Av Price/Unit 3.56</c:v>
                </c:pt>
                <c:pt idx="3">
                  <c:v>Av Price/Unit 3.13</c:v>
                </c:pt>
              </c:strCache>
            </c:strRef>
          </c:cat>
          <c:val>
            <c:numRef>
              <c:f>Sheet1!$D$2:$D$5</c:f>
              <c:numCache>
                <c:formatCode>General</c:formatCode>
                <c:ptCount val="4"/>
                <c:pt idx="0">
                  <c:v>1.1879625860423317</c:v>
                </c:pt>
                <c:pt idx="1">
                  <c:v>1.107517012073401</c:v>
                </c:pt>
                <c:pt idx="2">
                  <c:v>1.4390764777991276</c:v>
                </c:pt>
                <c:pt idx="3">
                  <c:v>1.54422991888918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v Price/Unit 3.52</c:v>
                </c:pt>
                <c:pt idx="1">
                  <c:v>Av Price/Unit 3.37</c:v>
                </c:pt>
                <c:pt idx="2">
                  <c:v>Av Price/Unit 3.56</c:v>
                </c:pt>
                <c:pt idx="3">
                  <c:v>Av Price/Unit 3.13</c:v>
                </c:pt>
              </c:strCache>
            </c:strRef>
          </c:cat>
          <c:val>
            <c:numRef>
              <c:f>Sheet1!$E$2:$E$5</c:f>
              <c:numCache>
                <c:formatCode>General</c:formatCode>
                <c:ptCount val="4"/>
                <c:pt idx="0">
                  <c:v>0.18328806483101157</c:v>
                </c:pt>
                <c:pt idx="1">
                  <c:v>0.17563477769436556</c:v>
                </c:pt>
                <c:pt idx="2">
                  <c:v>0.18583820627895162</c:v>
                </c:pt>
                <c:pt idx="3">
                  <c:v>0.1630645674646947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95</c:v>
                </c:pt>
                <c:pt idx="1">
                  <c:v>Av Price/Unit 5.21</c:v>
                </c:pt>
                <c:pt idx="2">
                  <c:v>Av Price/Unit 2.21</c:v>
                </c:pt>
                <c:pt idx="3">
                  <c:v>Av Price/Unit 3.64</c:v>
                </c:pt>
                <c:pt idx="4">
                  <c:v>Av Price/Unit 2.37</c:v>
                </c:pt>
                <c:pt idx="5">
                  <c:v>Av Price/Unit 2.38</c:v>
                </c:pt>
                <c:pt idx="6">
                  <c:v>Av Price/Unit 2.70</c:v>
                </c:pt>
                <c:pt idx="7">
                  <c:v>Av Price/Unit 3.90</c:v>
                </c:pt>
                <c:pt idx="8">
                  <c:v>Av Price/Unit 2.98</c:v>
                </c:pt>
                <c:pt idx="9">
                  <c:v>Av Price/Unit 2.52</c:v>
                </c:pt>
                <c:pt idx="10">
                  <c:v>Av Price/Unit 3.42</c:v>
                </c:pt>
              </c:strCache>
            </c:strRef>
          </c:cat>
          <c:val>
            <c:numRef>
              <c:f>Sheet1!$B$2:$B$12</c:f>
              <c:numCache>
                <c:formatCode>General</c:formatCode>
                <c:ptCount val="11"/>
                <c:pt idx="0">
                  <c:v>0.80823054354932211</c:v>
                </c:pt>
                <c:pt idx="1">
                  <c:v>1.1325946747246518</c:v>
                </c:pt>
                <c:pt idx="2">
                  <c:v>0.65689971538957304</c:v>
                </c:pt>
                <c:pt idx="3">
                  <c:v>0.91838600243808866</c:v>
                </c:pt>
                <c:pt idx="4">
                  <c:v>0.60218469281829257</c:v>
                </c:pt>
                <c:pt idx="5">
                  <c:v>0.45854906830570685</c:v>
                </c:pt>
                <c:pt idx="6">
                  <c:v>0.4472621584311946</c:v>
                </c:pt>
                <c:pt idx="7">
                  <c:v>0.56200000000000017</c:v>
                </c:pt>
                <c:pt idx="8">
                  <c:v>0.5559719195305951</c:v>
                </c:pt>
                <c:pt idx="9">
                  <c:v>0.32471799434187021</c:v>
                </c:pt>
                <c:pt idx="10">
                  <c:v>0.430099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95</c:v>
                </c:pt>
                <c:pt idx="1">
                  <c:v>Av Price/Unit 5.21</c:v>
                </c:pt>
                <c:pt idx="2">
                  <c:v>Av Price/Unit 2.21</c:v>
                </c:pt>
                <c:pt idx="3">
                  <c:v>Av Price/Unit 3.64</c:v>
                </c:pt>
                <c:pt idx="4">
                  <c:v>Av Price/Unit 2.37</c:v>
                </c:pt>
                <c:pt idx="5">
                  <c:v>Av Price/Unit 2.38</c:v>
                </c:pt>
                <c:pt idx="6">
                  <c:v>Av Price/Unit 2.70</c:v>
                </c:pt>
                <c:pt idx="7">
                  <c:v>Av Price/Unit 3.90</c:v>
                </c:pt>
                <c:pt idx="8">
                  <c:v>Av Price/Unit 2.98</c:v>
                </c:pt>
                <c:pt idx="9">
                  <c:v>Av Price/Unit 2.52</c:v>
                </c:pt>
                <c:pt idx="10">
                  <c:v>Av Price/Unit 3.42</c:v>
                </c:pt>
              </c:strCache>
            </c:strRef>
          </c:cat>
          <c:val>
            <c:numRef>
              <c:f>Sheet1!$C$2:$C$12</c:f>
              <c:numCache>
                <c:formatCode>General</c:formatCode>
                <c:ptCount val="11"/>
                <c:pt idx="0">
                  <c:v>1.0765426830204361</c:v>
                </c:pt>
                <c:pt idx="1">
                  <c:v>2.0843824489038418</c:v>
                </c:pt>
                <c:pt idx="2">
                  <c:v>0.70831983836852475</c:v>
                </c:pt>
                <c:pt idx="3">
                  <c:v>1.2758195696096801</c:v>
                </c:pt>
                <c:pt idx="4">
                  <c:v>0.81602908669495089</c:v>
                </c:pt>
                <c:pt idx="5">
                  <c:v>0.76579730643008137</c:v>
                </c:pt>
                <c:pt idx="6">
                  <c:v>0.88777462982923927</c:v>
                </c:pt>
                <c:pt idx="7">
                  <c:v>2.1046</c:v>
                </c:pt>
                <c:pt idx="8">
                  <c:v>0.87425740537752294</c:v>
                </c:pt>
                <c:pt idx="9">
                  <c:v>1.0359303082191784</c:v>
                </c:pt>
                <c:pt idx="10">
                  <c:v>1.19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95</c:v>
                </c:pt>
                <c:pt idx="1">
                  <c:v>Av Price/Unit 5.21</c:v>
                </c:pt>
                <c:pt idx="2">
                  <c:v>Av Price/Unit 2.21</c:v>
                </c:pt>
                <c:pt idx="3">
                  <c:v>Av Price/Unit 3.64</c:v>
                </c:pt>
                <c:pt idx="4">
                  <c:v>Av Price/Unit 2.37</c:v>
                </c:pt>
                <c:pt idx="5">
                  <c:v>Av Price/Unit 2.38</c:v>
                </c:pt>
                <c:pt idx="6">
                  <c:v>Av Price/Unit 2.70</c:v>
                </c:pt>
                <c:pt idx="7">
                  <c:v>Av Price/Unit 3.90</c:v>
                </c:pt>
                <c:pt idx="8">
                  <c:v>Av Price/Unit 2.98</c:v>
                </c:pt>
                <c:pt idx="9">
                  <c:v>Av Price/Unit 2.52</c:v>
                </c:pt>
                <c:pt idx="10">
                  <c:v>Av Price/Unit 3.42</c:v>
                </c:pt>
              </c:strCache>
            </c:strRef>
          </c:cat>
          <c:val>
            <c:numRef>
              <c:f>Sheet1!$D$2:$D$12</c:f>
              <c:numCache>
                <c:formatCode>General</c:formatCode>
                <c:ptCount val="11"/>
                <c:pt idx="0">
                  <c:v>0.91136693461676654</c:v>
                </c:pt>
                <c:pt idx="1">
                  <c:v>1.7209695258333655</c:v>
                </c:pt>
                <c:pt idx="2">
                  <c:v>0.73314203111871601</c:v>
                </c:pt>
                <c:pt idx="3">
                  <c:v>1.2553609953713978</c:v>
                </c:pt>
                <c:pt idx="4">
                  <c:v>0.82704188777823129</c:v>
                </c:pt>
                <c:pt idx="5">
                  <c:v>1.0335309359983069</c:v>
                </c:pt>
                <c:pt idx="6">
                  <c:v>1.219643570960975</c:v>
                </c:pt>
                <c:pt idx="7">
                  <c:v>1.0345761975191361</c:v>
                </c:pt>
                <c:pt idx="8">
                  <c:v>1.3954804983744342</c:v>
                </c:pt>
                <c:pt idx="9">
                  <c:v>1.0295022609937652</c:v>
                </c:pt>
                <c:pt idx="10">
                  <c:v>1.61830367060932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v Price/Unit 2.95</c:v>
                </c:pt>
                <c:pt idx="1">
                  <c:v>Av Price/Unit 5.21</c:v>
                </c:pt>
                <c:pt idx="2">
                  <c:v>Av Price/Unit 2.21</c:v>
                </c:pt>
                <c:pt idx="3">
                  <c:v>Av Price/Unit 3.64</c:v>
                </c:pt>
                <c:pt idx="4">
                  <c:v>Av Price/Unit 2.37</c:v>
                </c:pt>
                <c:pt idx="5">
                  <c:v>Av Price/Unit 2.38</c:v>
                </c:pt>
                <c:pt idx="6">
                  <c:v>Av Price/Unit 2.70</c:v>
                </c:pt>
                <c:pt idx="7">
                  <c:v>Av Price/Unit 3.90</c:v>
                </c:pt>
                <c:pt idx="8">
                  <c:v>Av Price/Unit 2.98</c:v>
                </c:pt>
                <c:pt idx="9">
                  <c:v>Av Price/Unit 2.52</c:v>
                </c:pt>
                <c:pt idx="10">
                  <c:v>Av Price/Unit 3.42</c:v>
                </c:pt>
              </c:strCache>
            </c:strRef>
          </c:cat>
          <c:val>
            <c:numRef>
              <c:f>Sheet1!$E$2:$E$12</c:f>
              <c:numCache>
                <c:formatCode>General</c:formatCode>
                <c:ptCount val="11"/>
                <c:pt idx="0">
                  <c:v>0.15379090345391935</c:v>
                </c:pt>
                <c:pt idx="1">
                  <c:v>0.27158786359143589</c:v>
                </c:pt>
                <c:pt idx="2">
                  <c:v>0.1154066476566291</c:v>
                </c:pt>
                <c:pt idx="3">
                  <c:v>0.18972616120805397</c:v>
                </c:pt>
                <c:pt idx="4">
                  <c:v>0.12348906170103169</c:v>
                </c:pt>
                <c:pt idx="5">
                  <c:v>0.12418513271530583</c:v>
                </c:pt>
                <c:pt idx="6">
                  <c:v>0.1405108127811375</c:v>
                </c:pt>
                <c:pt idx="7">
                  <c:v>0.20356469086355219</c:v>
                </c:pt>
                <c:pt idx="8">
                  <c:v>0.15541404028054023</c:v>
                </c:pt>
                <c:pt idx="9">
                  <c:v>0.1314582809955141</c:v>
                </c:pt>
                <c:pt idx="10">
                  <c:v>0.1783267018835124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B$2:$B$9</c:f>
              <c:numCache>
                <c:formatCode>General</c:formatCode>
                <c:ptCount val="8"/>
                <c:pt idx="0">
                  <c:v>0.78152773524577102</c:v>
                </c:pt>
                <c:pt idx="1">
                  <c:v>0.56580556709380414</c:v>
                </c:pt>
                <c:pt idx="2">
                  <c:v>0.75869120950827296</c:v>
                </c:pt>
                <c:pt idx="3">
                  <c:v>0.52607364852715632</c:v>
                </c:pt>
                <c:pt idx="4">
                  <c:v>0.6563220164473168</c:v>
                </c:pt>
                <c:pt idx="5">
                  <c:v>0.64221659623138261</c:v>
                </c:pt>
                <c:pt idx="6">
                  <c:v>0.27122375731447601</c:v>
                </c:pt>
                <c:pt idx="7">
                  <c:v>0.4413815143725169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C$2:$C$9</c:f>
              <c:numCache>
                <c:formatCode>General</c:formatCode>
                <c:ptCount val="8"/>
                <c:pt idx="0">
                  <c:v>2.1759592025361942</c:v>
                </c:pt>
                <c:pt idx="1">
                  <c:v>0.85550606762343218</c:v>
                </c:pt>
                <c:pt idx="2">
                  <c:v>1.643927595609094</c:v>
                </c:pt>
                <c:pt idx="3">
                  <c:v>0.78439522978475873</c:v>
                </c:pt>
                <c:pt idx="4">
                  <c:v>1.2276194616098244</c:v>
                </c:pt>
                <c:pt idx="5">
                  <c:v>1.0339236349641951</c:v>
                </c:pt>
                <c:pt idx="6">
                  <c:v>0.73491341831565438</c:v>
                </c:pt>
                <c:pt idx="7">
                  <c:v>2.1136290722131332</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D$2:$D$9</c:f>
              <c:numCache>
                <c:formatCode>General</c:formatCode>
                <c:ptCount val="8"/>
                <c:pt idx="0">
                  <c:v>1.4402140900664686</c:v>
                </c:pt>
                <c:pt idx="1">
                  <c:v>0.93865931526322544</c:v>
                </c:pt>
                <c:pt idx="2">
                  <c:v>1.3407924301939151</c:v>
                </c:pt>
                <c:pt idx="3">
                  <c:v>0.96509106172098758</c:v>
                </c:pt>
                <c:pt idx="4">
                  <c:v>1.8424049687297099</c:v>
                </c:pt>
                <c:pt idx="5">
                  <c:v>1.2781386177248599</c:v>
                </c:pt>
                <c:pt idx="6">
                  <c:v>1.2363922422506215</c:v>
                </c:pt>
                <c:pt idx="7">
                  <c:v>0.835514506201897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v Price/Unit 4.64</c:v>
                </c:pt>
                <c:pt idx="1">
                  <c:v>Av Price/Unit 2.49</c:v>
                </c:pt>
                <c:pt idx="2">
                  <c:v>Av Price/Unit 3.95</c:v>
                </c:pt>
                <c:pt idx="3">
                  <c:v>Av Price/Unit 2.40</c:v>
                </c:pt>
                <c:pt idx="4">
                  <c:v>Av Price/Unit 3.93</c:v>
                </c:pt>
                <c:pt idx="5">
                  <c:v>Av Price/Unit 3.12</c:v>
                </c:pt>
                <c:pt idx="6">
                  <c:v>Av Price/Unit 2.37</c:v>
                </c:pt>
                <c:pt idx="7">
                  <c:v>Av Price/Unit 3.58</c:v>
                </c:pt>
              </c:strCache>
            </c:strRef>
          </c:cat>
          <c:val>
            <c:numRef>
              <c:f>Sheet1!$E$2:$E$9</c:f>
              <c:numCache>
                <c:formatCode>General</c:formatCode>
                <c:ptCount val="8"/>
                <c:pt idx="0">
                  <c:v>0.24187398058043644</c:v>
                </c:pt>
                <c:pt idx="1">
                  <c:v>0.12979840224892567</c:v>
                </c:pt>
                <c:pt idx="2">
                  <c:v>0.20588761794211949</c:v>
                </c:pt>
                <c:pt idx="3">
                  <c:v>0.12515257869715557</c:v>
                </c:pt>
                <c:pt idx="4">
                  <c:v>0.20494905457327678</c:v>
                </c:pt>
                <c:pt idx="5">
                  <c:v>0.16248846862819938</c:v>
                </c:pt>
                <c:pt idx="6">
                  <c:v>0.12333911798344149</c:v>
                </c:pt>
                <c:pt idx="7">
                  <c:v>0.1864788801033147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36</c:v>
                </c:pt>
                <c:pt idx="5">
                  <c:v>Av Price/Unit 2.26</c:v>
                </c:pt>
                <c:pt idx="6">
                  <c:v>Av Price/Unit 2.37</c:v>
                </c:pt>
                <c:pt idx="7">
                  <c:v>Av Price/Unit 2.33</c:v>
                </c:pt>
                <c:pt idx="8">
                  <c:v>Av Price/Unit 3.32</c:v>
                </c:pt>
                <c:pt idx="9">
                  <c:v>Av Price/Unit 2.27</c:v>
                </c:pt>
                <c:pt idx="10">
                  <c:v>Av Price/Unit 2.66</c:v>
                </c:pt>
                <c:pt idx="11">
                  <c:v>Av Price/Unit 2.32</c:v>
                </c:pt>
              </c:strCache>
            </c:strRef>
          </c:cat>
          <c:val>
            <c:numRef>
              <c:f>Sheet1!$B$2:$B$13</c:f>
              <c:numCache>
                <c:formatCode>General</c:formatCode>
                <c:ptCount val="12"/>
                <c:pt idx="0">
                  <c:v>0.42012280520508982</c:v>
                </c:pt>
                <c:pt idx="1">
                  <c:v>0.433677487269715</c:v>
                </c:pt>
                <c:pt idx="2">
                  <c:v>0.42327455357700045</c:v>
                </c:pt>
                <c:pt idx="3">
                  <c:v>0.3485742495752312</c:v>
                </c:pt>
                <c:pt idx="4">
                  <c:v>0.3953068660208956</c:v>
                </c:pt>
                <c:pt idx="5">
                  <c:v>0.27710899523586008</c:v>
                </c:pt>
                <c:pt idx="6">
                  <c:v>0.40460871232362994</c:v>
                </c:pt>
                <c:pt idx="7">
                  <c:v>0.37919900108806098</c:v>
                </c:pt>
                <c:pt idx="8">
                  <c:v>0.19363882496228027</c:v>
                </c:pt>
                <c:pt idx="9">
                  <c:v>0.45761859418699558</c:v>
                </c:pt>
                <c:pt idx="10">
                  <c:v>0.36772032849672226</c:v>
                </c:pt>
                <c:pt idx="11">
                  <c:v>0.3543521342698905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36</c:v>
                </c:pt>
                <c:pt idx="5">
                  <c:v>Av Price/Unit 2.26</c:v>
                </c:pt>
                <c:pt idx="6">
                  <c:v>Av Price/Unit 2.37</c:v>
                </c:pt>
                <c:pt idx="7">
                  <c:v>Av Price/Unit 2.33</c:v>
                </c:pt>
                <c:pt idx="8">
                  <c:v>Av Price/Unit 3.32</c:v>
                </c:pt>
                <c:pt idx="9">
                  <c:v>Av Price/Unit 2.27</c:v>
                </c:pt>
                <c:pt idx="10">
                  <c:v>Av Price/Unit 2.66</c:v>
                </c:pt>
                <c:pt idx="11">
                  <c:v>Av Price/Unit 2.32</c:v>
                </c:pt>
              </c:strCache>
            </c:strRef>
          </c:cat>
          <c:val>
            <c:numRef>
              <c:f>Sheet1!$C$2:$C$13</c:f>
              <c:numCache>
                <c:formatCode>General</c:formatCode>
                <c:ptCount val="12"/>
                <c:pt idx="0">
                  <c:v>1.0606184662803047</c:v>
                </c:pt>
                <c:pt idx="1">
                  <c:v>1.500939785214487</c:v>
                </c:pt>
                <c:pt idx="2">
                  <c:v>0.89905207097479345</c:v>
                </c:pt>
                <c:pt idx="3">
                  <c:v>0.6411008684160846</c:v>
                </c:pt>
                <c:pt idx="4">
                  <c:v>0.87247499745887147</c:v>
                </c:pt>
                <c:pt idx="5">
                  <c:v>0.816096402285723</c:v>
                </c:pt>
                <c:pt idx="6">
                  <c:v>0.92758385365396356</c:v>
                </c:pt>
                <c:pt idx="7">
                  <c:v>0.88055412729482552</c:v>
                </c:pt>
                <c:pt idx="8">
                  <c:v>1.7301012197560486</c:v>
                </c:pt>
                <c:pt idx="9">
                  <c:v>0.85492841032263245</c:v>
                </c:pt>
                <c:pt idx="10">
                  <c:v>1.0539723429329011</c:v>
                </c:pt>
                <c:pt idx="11">
                  <c:v>0.9188487184249627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36</c:v>
                </c:pt>
                <c:pt idx="5">
                  <c:v>Av Price/Unit 2.26</c:v>
                </c:pt>
                <c:pt idx="6">
                  <c:v>Av Price/Unit 2.37</c:v>
                </c:pt>
                <c:pt idx="7">
                  <c:v>Av Price/Unit 2.33</c:v>
                </c:pt>
                <c:pt idx="8">
                  <c:v>Av Price/Unit 3.32</c:v>
                </c:pt>
                <c:pt idx="9">
                  <c:v>Av Price/Unit 2.27</c:v>
                </c:pt>
                <c:pt idx="10">
                  <c:v>Av Price/Unit 2.66</c:v>
                </c:pt>
                <c:pt idx="11">
                  <c:v>Av Price/Unit 2.32</c:v>
                </c:pt>
              </c:strCache>
            </c:strRef>
          </c:cat>
          <c:val>
            <c:numRef>
              <c:f>Sheet1!$D$2:$D$13</c:f>
              <c:numCache>
                <c:formatCode>General</c:formatCode>
                <c:ptCount val="12"/>
                <c:pt idx="0">
                  <c:v>0.82266446394684589</c:v>
                </c:pt>
                <c:pt idx="1">
                  <c:v>1.1521241036449539</c:v>
                </c:pt>
                <c:pt idx="2">
                  <c:v>0.74879604952620782</c:v>
                </c:pt>
                <c:pt idx="3">
                  <c:v>0.66721016021273116</c:v>
                </c:pt>
                <c:pt idx="4">
                  <c:v>0.97322231381046653</c:v>
                </c:pt>
                <c:pt idx="5">
                  <c:v>1.0498914491552349</c:v>
                </c:pt>
                <c:pt idx="6">
                  <c:v>0.91229970208139433</c:v>
                </c:pt>
                <c:pt idx="7">
                  <c:v>0.94516487353658163</c:v>
                </c:pt>
                <c:pt idx="8">
                  <c:v>1.2272066724440542</c:v>
                </c:pt>
                <c:pt idx="9">
                  <c:v>0.84228176413618172</c:v>
                </c:pt>
                <c:pt idx="10">
                  <c:v>1.0991619649940358</c:v>
                </c:pt>
                <c:pt idx="11">
                  <c:v>0.92376600775239748</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36</c:v>
                </c:pt>
                <c:pt idx="5">
                  <c:v>Av Price/Unit 2.26</c:v>
                </c:pt>
                <c:pt idx="6">
                  <c:v>Av Price/Unit 2.37</c:v>
                </c:pt>
                <c:pt idx="7">
                  <c:v>Av Price/Unit 2.33</c:v>
                </c:pt>
                <c:pt idx="8">
                  <c:v>Av Price/Unit 3.32</c:v>
                </c:pt>
                <c:pt idx="9">
                  <c:v>Av Price/Unit 2.27</c:v>
                </c:pt>
                <c:pt idx="10">
                  <c:v>Av Price/Unit 2.66</c:v>
                </c:pt>
                <c:pt idx="11">
                  <c:v>Av Price/Unit 2.32</c:v>
                </c:pt>
              </c:strCache>
            </c:strRef>
          </c:cat>
          <c:val>
            <c:numRef>
              <c:f>Sheet1!$E$2:$E$13</c:f>
              <c:numCache>
                <c:formatCode>General</c:formatCode>
                <c:ptCount val="12"/>
                <c:pt idx="0">
                  <c:v>0.12668731544877293</c:v>
                </c:pt>
                <c:pt idx="1">
                  <c:v>0.16976777881387045</c:v>
                </c:pt>
                <c:pt idx="2">
                  <c:v>0.11391174707429051</c:v>
                </c:pt>
                <c:pt idx="3">
                  <c:v>9.1125832834732134E-2</c:v>
                </c:pt>
                <c:pt idx="4">
                  <c:v>0.12325522975096254</c:v>
                </c:pt>
                <c:pt idx="5">
                  <c:v>0.11786785688041893</c:v>
                </c:pt>
                <c:pt idx="6">
                  <c:v>0.12344707474324408</c:v>
                </c:pt>
                <c:pt idx="7">
                  <c:v>0.12127049010557099</c:v>
                </c:pt>
                <c:pt idx="8">
                  <c:v>0.17330206944393153</c:v>
                </c:pt>
                <c:pt idx="9">
                  <c:v>0.1185155822755196</c:v>
                </c:pt>
                <c:pt idx="10">
                  <c:v>0.13864443553627248</c:v>
                </c:pt>
                <c:pt idx="11">
                  <c:v>0.12083459504376659</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4.31</c:v>
                </c:pt>
                <c:pt idx="1">
                  <c:v>Av Price/Unit 2.30</c:v>
                </c:pt>
                <c:pt idx="2">
                  <c:v>Av Price/Unit 2.98</c:v>
                </c:pt>
                <c:pt idx="3">
                  <c:v>Av Price/Unit 2.30</c:v>
                </c:pt>
                <c:pt idx="4">
                  <c:v>Av Price/Unit 3.60</c:v>
                </c:pt>
                <c:pt idx="5">
                  <c:v>Av Price/Unit 3.81</c:v>
                </c:pt>
                <c:pt idx="6">
                  <c:v>Av Price/Unit 2.33</c:v>
                </c:pt>
                <c:pt idx="7">
                  <c:v>Av Price/Unit 3.30</c:v>
                </c:pt>
                <c:pt idx="8">
                  <c:v>Av Price/Unit 2.72</c:v>
                </c:pt>
                <c:pt idx="9">
                  <c:v>Av Price/Unit 2.41</c:v>
                </c:pt>
              </c:strCache>
            </c:strRef>
          </c:cat>
          <c:val>
            <c:numRef>
              <c:f>Sheet1!$B$2:$B$11</c:f>
              <c:numCache>
                <c:formatCode>General</c:formatCode>
                <c:ptCount val="10"/>
                <c:pt idx="0">
                  <c:v>0.44768392936454532</c:v>
                </c:pt>
                <c:pt idx="1">
                  <c:v>0.70532785966181388</c:v>
                </c:pt>
                <c:pt idx="2">
                  <c:v>0.89840014401087387</c:v>
                </c:pt>
                <c:pt idx="3">
                  <c:v>0.49149941700399163</c:v>
                </c:pt>
                <c:pt idx="4">
                  <c:v>0.98131117297386994</c:v>
                </c:pt>
                <c:pt idx="5">
                  <c:v>0.58088691080410593</c:v>
                </c:pt>
                <c:pt idx="6">
                  <c:v>0.51486084872729876</c:v>
                </c:pt>
                <c:pt idx="7">
                  <c:v>0.722055530047919</c:v>
                </c:pt>
                <c:pt idx="8">
                  <c:v>0.51313122164318525</c:v>
                </c:pt>
                <c:pt idx="9">
                  <c:v>0.5903424253623421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4.31</c:v>
                </c:pt>
                <c:pt idx="1">
                  <c:v>Av Price/Unit 2.30</c:v>
                </c:pt>
                <c:pt idx="2">
                  <c:v>Av Price/Unit 2.98</c:v>
                </c:pt>
                <c:pt idx="3">
                  <c:v>Av Price/Unit 2.30</c:v>
                </c:pt>
                <c:pt idx="4">
                  <c:v>Av Price/Unit 3.60</c:v>
                </c:pt>
                <c:pt idx="5">
                  <c:v>Av Price/Unit 3.81</c:v>
                </c:pt>
                <c:pt idx="6">
                  <c:v>Av Price/Unit 2.33</c:v>
                </c:pt>
                <c:pt idx="7">
                  <c:v>Av Price/Unit 3.30</c:v>
                </c:pt>
                <c:pt idx="8">
                  <c:v>Av Price/Unit 2.72</c:v>
                </c:pt>
                <c:pt idx="9">
                  <c:v>Av Price/Unit 2.41</c:v>
                </c:pt>
              </c:strCache>
            </c:strRef>
          </c:cat>
          <c:val>
            <c:numRef>
              <c:f>Sheet1!$C$2:$C$11</c:f>
              <c:numCache>
                <c:formatCode>General</c:formatCode>
                <c:ptCount val="10"/>
                <c:pt idx="0">
                  <c:v>2.0897984746469316</c:v>
                </c:pt>
                <c:pt idx="1">
                  <c:v>0.70819500246478551</c:v>
                </c:pt>
                <c:pt idx="2">
                  <c:v>1.0753005760434948</c:v>
                </c:pt>
                <c:pt idx="3">
                  <c:v>0.817004039123856</c:v>
                </c:pt>
                <c:pt idx="4">
                  <c:v>1.2742234848558796</c:v>
                </c:pt>
                <c:pt idx="5">
                  <c:v>2.0825806859822018</c:v>
                </c:pt>
                <c:pt idx="6">
                  <c:v>0.76706892978793151</c:v>
                </c:pt>
                <c:pt idx="7">
                  <c:v>1.147879432854604</c:v>
                </c:pt>
                <c:pt idx="8">
                  <c:v>1.0616570802489076</c:v>
                </c:pt>
                <c:pt idx="9">
                  <c:v>0.88782606453064261</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4.31</c:v>
                </c:pt>
                <c:pt idx="1">
                  <c:v>Av Price/Unit 2.30</c:v>
                </c:pt>
                <c:pt idx="2">
                  <c:v>Av Price/Unit 2.98</c:v>
                </c:pt>
                <c:pt idx="3">
                  <c:v>Av Price/Unit 2.30</c:v>
                </c:pt>
                <c:pt idx="4">
                  <c:v>Av Price/Unit 3.60</c:v>
                </c:pt>
                <c:pt idx="5">
                  <c:v>Av Price/Unit 3.81</c:v>
                </c:pt>
                <c:pt idx="6">
                  <c:v>Av Price/Unit 2.33</c:v>
                </c:pt>
                <c:pt idx="7">
                  <c:v>Av Price/Unit 3.30</c:v>
                </c:pt>
                <c:pt idx="8">
                  <c:v>Av Price/Unit 2.72</c:v>
                </c:pt>
                <c:pt idx="9">
                  <c:v>Av Price/Unit 2.41</c:v>
                </c:pt>
              </c:strCache>
            </c:strRef>
          </c:cat>
          <c:val>
            <c:numRef>
              <c:f>Sheet1!$D$2:$D$11</c:f>
              <c:numCache>
                <c:formatCode>General</c:formatCode>
                <c:ptCount val="10"/>
                <c:pt idx="0">
                  <c:v>1.5513200319444214</c:v>
                </c:pt>
                <c:pt idx="1">
                  <c:v>0.76295311781756636</c:v>
                </c:pt>
                <c:pt idx="2">
                  <c:v>0.85173917175321301</c:v>
                </c:pt>
                <c:pt idx="3">
                  <c:v>0.86836842405244052</c:v>
                </c:pt>
                <c:pt idx="4">
                  <c:v>1.1540341952706181</c:v>
                </c:pt>
                <c:pt idx="5">
                  <c:v>0.95094929720031063</c:v>
                </c:pt>
                <c:pt idx="6">
                  <c:v>0.9313761736766375</c:v>
                </c:pt>
                <c:pt idx="7">
                  <c:v>1.2577734734074431</c:v>
                </c:pt>
                <c:pt idx="8">
                  <c:v>1.000143200359277</c:v>
                </c:pt>
                <c:pt idx="9">
                  <c:v>0.8031756411629127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v Price/Unit 4.31</c:v>
                </c:pt>
                <c:pt idx="1">
                  <c:v>Av Price/Unit 2.30</c:v>
                </c:pt>
                <c:pt idx="2">
                  <c:v>Av Price/Unit 2.98</c:v>
                </c:pt>
                <c:pt idx="3">
                  <c:v>Av Price/Unit 2.30</c:v>
                </c:pt>
                <c:pt idx="4">
                  <c:v>Av Price/Unit 3.60</c:v>
                </c:pt>
                <c:pt idx="5">
                  <c:v>Av Price/Unit 3.81</c:v>
                </c:pt>
                <c:pt idx="6">
                  <c:v>Av Price/Unit 2.33</c:v>
                </c:pt>
                <c:pt idx="7">
                  <c:v>Av Price/Unit 3.30</c:v>
                </c:pt>
                <c:pt idx="8">
                  <c:v>Av Price/Unit 2.72</c:v>
                </c:pt>
                <c:pt idx="9">
                  <c:v>Av Price/Unit 2.41</c:v>
                </c:pt>
              </c:strCache>
            </c:strRef>
          </c:cat>
          <c:val>
            <c:numRef>
              <c:f>Sheet1!$E$2:$E$11</c:f>
              <c:numCache>
                <c:formatCode>General</c:formatCode>
                <c:ptCount val="10"/>
                <c:pt idx="0">
                  <c:v>0.2248866866391093</c:v>
                </c:pt>
                <c:pt idx="1">
                  <c:v>0.11970617889692811</c:v>
                </c:pt>
                <c:pt idx="2">
                  <c:v>0.15540245689552826</c:v>
                </c:pt>
                <c:pt idx="3">
                  <c:v>0.11972795340991524</c:v>
                </c:pt>
                <c:pt idx="4">
                  <c:v>0.18752628692052045</c:v>
                </c:pt>
                <c:pt idx="5">
                  <c:v>0.19879292916926455</c:v>
                </c:pt>
                <c:pt idx="6">
                  <c:v>0.12173054425093276</c:v>
                </c:pt>
                <c:pt idx="7">
                  <c:v>0.1720239639970475</c:v>
                </c:pt>
                <c:pt idx="8">
                  <c:v>0.14162371821189068</c:v>
                </c:pt>
                <c:pt idx="9">
                  <c:v>0.125474836068182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B$2:$B$13</c:f>
              <c:numCache>
                <c:formatCode>General</c:formatCode>
                <c:ptCount val="12"/>
                <c:pt idx="0">
                  <c:v>0.36657403774590719</c:v>
                </c:pt>
                <c:pt idx="1">
                  <c:v>0.71237720850370756</c:v>
                </c:pt>
                <c:pt idx="2">
                  <c:v>0.68745099455136882</c:v>
                </c:pt>
                <c:pt idx="3">
                  <c:v>0.5932216801020419</c:v>
                </c:pt>
                <c:pt idx="4">
                  <c:v>0.49344247852523382</c:v>
                </c:pt>
                <c:pt idx="5">
                  <c:v>0.54979218357834359</c:v>
                </c:pt>
                <c:pt idx="6">
                  <c:v>1.0472437877395642</c:v>
                </c:pt>
                <c:pt idx="7">
                  <c:v>0.83208068046245365</c:v>
                </c:pt>
                <c:pt idx="8">
                  <c:v>0.15696202443391591</c:v>
                </c:pt>
                <c:pt idx="9">
                  <c:v>0.48498151184655885</c:v>
                </c:pt>
                <c:pt idx="10">
                  <c:v>0.40926929057337219</c:v>
                </c:pt>
                <c:pt idx="11">
                  <c:v>0.87292630350194567</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C$2:$C$13</c:f>
              <c:numCache>
                <c:formatCode>General</c:formatCode>
                <c:ptCount val="12"/>
                <c:pt idx="0">
                  <c:v>2.1789083844063493</c:v>
                </c:pt>
                <c:pt idx="1">
                  <c:v>1.6505914267571786</c:v>
                </c:pt>
                <c:pt idx="2">
                  <c:v>0.85576889978189818</c:v>
                </c:pt>
                <c:pt idx="3">
                  <c:v>0.78526705574076816</c:v>
                </c:pt>
                <c:pt idx="4">
                  <c:v>2.1706306856072715</c:v>
                </c:pt>
                <c:pt idx="5">
                  <c:v>0.56294668339906784</c:v>
                </c:pt>
                <c:pt idx="6">
                  <c:v>1.2280379085718036</c:v>
                </c:pt>
                <c:pt idx="7">
                  <c:v>1.0331690805002189</c:v>
                </c:pt>
                <c:pt idx="8">
                  <c:v>1.0677663946505254</c:v>
                </c:pt>
                <c:pt idx="9">
                  <c:v>0.73376330199323059</c:v>
                </c:pt>
                <c:pt idx="10">
                  <c:v>0.17399290573372206</c:v>
                </c:pt>
                <c:pt idx="11">
                  <c:v>1.120265525291828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D$2:$D$13</c:f>
              <c:numCache>
                <c:formatCode>General</c:formatCode>
                <c:ptCount val="12"/>
                <c:pt idx="0">
                  <c:v>1.1731560264618</c:v>
                </c:pt>
                <c:pt idx="1">
                  <c:v>1.1671085834761978</c:v>
                </c:pt>
                <c:pt idx="2">
                  <c:v>1.0767429446469361</c:v>
                </c:pt>
                <c:pt idx="3">
                  <c:v>0.78440011977545643</c:v>
                </c:pt>
                <c:pt idx="4">
                  <c:v>0.91144341649060845</c:v>
                </c:pt>
                <c:pt idx="5">
                  <c:v>0.78767561611976045</c:v>
                </c:pt>
                <c:pt idx="6">
                  <c:v>1.1691670338724456</c:v>
                </c:pt>
                <c:pt idx="7">
                  <c:v>1.1043233237031231</c:v>
                </c:pt>
                <c:pt idx="8">
                  <c:v>1.1503538036612952</c:v>
                </c:pt>
                <c:pt idx="9">
                  <c:v>0.92338537443253665</c:v>
                </c:pt>
                <c:pt idx="10">
                  <c:v>0.77035521482458946</c:v>
                </c:pt>
                <c:pt idx="11">
                  <c:v>1.377867279768381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3.92</c:v>
                </c:pt>
                <c:pt idx="1">
                  <c:v>Av Price/Unit 3.72</c:v>
                </c:pt>
                <c:pt idx="2">
                  <c:v>Av Price/Unit 2.76</c:v>
                </c:pt>
                <c:pt idx="3">
                  <c:v>Av Price/Unit 2.28</c:v>
                </c:pt>
                <c:pt idx="4">
                  <c:v>Av Price/Unit 3.77</c:v>
                </c:pt>
                <c:pt idx="5">
                  <c:v>Av Price/Unit 2.00</c:v>
                </c:pt>
                <c:pt idx="6">
                  <c:v>Av Price/Unit 3.63</c:v>
                </c:pt>
                <c:pt idx="7">
                  <c:v>Av Price/Unit 3.13</c:v>
                </c:pt>
                <c:pt idx="8">
                  <c:v>Av Price/Unit 2.51</c:v>
                </c:pt>
                <c:pt idx="9">
                  <c:v>Av Price/Unit 2.26</c:v>
                </c:pt>
                <c:pt idx="10">
                  <c:v>Av Price/Unit 1.43</c:v>
                </c:pt>
                <c:pt idx="11">
                  <c:v>Av Price/Unit 3.56</c:v>
                </c:pt>
              </c:strCache>
            </c:strRef>
          </c:cat>
          <c:val>
            <c:numRef>
              <c:f>Sheet1!$E$2:$E$13</c:f>
              <c:numCache>
                <c:formatCode>General</c:formatCode>
                <c:ptCount val="12"/>
                <c:pt idx="0">
                  <c:v>0.20452290182866684</c:v>
                </c:pt>
                <c:pt idx="1">
                  <c:v>0.19415424703053977</c:v>
                </c:pt>
                <c:pt idx="2">
                  <c:v>0.14410028671414302</c:v>
                </c:pt>
                <c:pt idx="3">
                  <c:v>0.11895888705900444</c:v>
                </c:pt>
                <c:pt idx="4">
                  <c:v>0.19665341193427072</c:v>
                </c:pt>
                <c:pt idx="5">
                  <c:v>0.10452279657034387</c:v>
                </c:pt>
                <c:pt idx="6">
                  <c:v>0.18944468016010932</c:v>
                </c:pt>
                <c:pt idx="7">
                  <c:v>0.16332651965661771</c:v>
                </c:pt>
                <c:pt idx="8">
                  <c:v>0.13063285751223</c:v>
                </c:pt>
                <c:pt idx="9">
                  <c:v>0.11781716035497748</c:v>
                </c:pt>
                <c:pt idx="10">
                  <c:v>7.4446789548588452E-2</c:v>
                </c:pt>
                <c:pt idx="11">
                  <c:v>0.185405794161579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2.32</c:v>
                </c:pt>
                <c:pt idx="4">
                  <c:v>Av Price/Unit 1.66</c:v>
                </c:pt>
                <c:pt idx="5">
                  <c:v>Av Price/Unit 2.15</c:v>
                </c:pt>
                <c:pt idx="6">
                  <c:v>Av Price/Unit 2.13</c:v>
                </c:pt>
                <c:pt idx="7">
                  <c:v>Av Price/Unit 2.31</c:v>
                </c:pt>
                <c:pt idx="8">
                  <c:v>Av Price/Unit 2.11</c:v>
                </c:pt>
                <c:pt idx="9">
                  <c:v>Av Price/Unit 2.06</c:v>
                </c:pt>
                <c:pt idx="10">
                  <c:v>Av Price/Unit 2.17</c:v>
                </c:pt>
                <c:pt idx="11">
                  <c:v>Av Price/Unit 1.30</c:v>
                </c:pt>
              </c:strCache>
            </c:strRef>
          </c:cat>
          <c:val>
            <c:numRef>
              <c:f>Sheet1!$B$2:$B$13</c:f>
              <c:numCache>
                <c:formatCode>General</c:formatCode>
                <c:ptCount val="12"/>
                <c:pt idx="0">
                  <c:v>0.52949882280513305</c:v>
                </c:pt>
                <c:pt idx="1">
                  <c:v>0.52897620446062821</c:v>
                </c:pt>
                <c:pt idx="2">
                  <c:v>0.64024583557505954</c:v>
                </c:pt>
                <c:pt idx="3">
                  <c:v>0.45863882742205797</c:v>
                </c:pt>
                <c:pt idx="4">
                  <c:v>0.37396960825632253</c:v>
                </c:pt>
                <c:pt idx="5">
                  <c:v>0.45248376840644045</c:v>
                </c:pt>
                <c:pt idx="6">
                  <c:v>0.43111069258852941</c:v>
                </c:pt>
                <c:pt idx="7">
                  <c:v>0.47997967913880701</c:v>
                </c:pt>
                <c:pt idx="8">
                  <c:v>0.23614496095238097</c:v>
                </c:pt>
                <c:pt idx="9">
                  <c:v>0.16756416253450257</c:v>
                </c:pt>
                <c:pt idx="10">
                  <c:v>0.31000140577507601</c:v>
                </c:pt>
                <c:pt idx="11">
                  <c:v>0.32830701836504306</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2.32</c:v>
                </c:pt>
                <c:pt idx="4">
                  <c:v>Av Price/Unit 1.66</c:v>
                </c:pt>
                <c:pt idx="5">
                  <c:v>Av Price/Unit 2.15</c:v>
                </c:pt>
                <c:pt idx="6">
                  <c:v>Av Price/Unit 2.13</c:v>
                </c:pt>
                <c:pt idx="7">
                  <c:v>Av Price/Unit 2.31</c:v>
                </c:pt>
                <c:pt idx="8">
                  <c:v>Av Price/Unit 2.11</c:v>
                </c:pt>
                <c:pt idx="9">
                  <c:v>Av Price/Unit 2.06</c:v>
                </c:pt>
                <c:pt idx="10">
                  <c:v>Av Price/Unit 2.17</c:v>
                </c:pt>
                <c:pt idx="11">
                  <c:v>Av Price/Unit 1.30</c:v>
                </c:pt>
              </c:strCache>
            </c:strRef>
          </c:cat>
          <c:val>
            <c:numRef>
              <c:f>Sheet1!$C$2:$C$13</c:f>
              <c:numCache>
                <c:formatCode>General</c:formatCode>
                <c:ptCount val="12"/>
                <c:pt idx="0">
                  <c:v>0.89925968279527502</c:v>
                </c:pt>
                <c:pt idx="1">
                  <c:v>1.0629143262898952</c:v>
                </c:pt>
                <c:pt idx="2">
                  <c:v>1.5017285332304842</c:v>
                </c:pt>
                <c:pt idx="3">
                  <c:v>0.87549184992434137</c:v>
                </c:pt>
                <c:pt idx="4">
                  <c:v>0.6443705578761687</c:v>
                </c:pt>
                <c:pt idx="5">
                  <c:v>0.87948727181616437</c:v>
                </c:pt>
                <c:pt idx="6">
                  <c:v>0.81503290398000128</c:v>
                </c:pt>
                <c:pt idx="7">
                  <c:v>0.93172191264981685</c:v>
                </c:pt>
                <c:pt idx="8">
                  <c:v>0.91286584095238099</c:v>
                </c:pt>
                <c:pt idx="9">
                  <c:v>0.91481161728425231</c:v>
                </c:pt>
                <c:pt idx="10">
                  <c:v>0.90753376139817632</c:v>
                </c:pt>
                <c:pt idx="11">
                  <c:v>0.51052457666785978</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2.32</c:v>
                </c:pt>
                <c:pt idx="4">
                  <c:v>Av Price/Unit 1.66</c:v>
                </c:pt>
                <c:pt idx="5">
                  <c:v>Av Price/Unit 2.15</c:v>
                </c:pt>
                <c:pt idx="6">
                  <c:v>Av Price/Unit 2.13</c:v>
                </c:pt>
                <c:pt idx="7">
                  <c:v>Av Price/Unit 2.31</c:v>
                </c:pt>
                <c:pt idx="8">
                  <c:v>Av Price/Unit 2.11</c:v>
                </c:pt>
                <c:pt idx="9">
                  <c:v>Av Price/Unit 2.06</c:v>
                </c:pt>
                <c:pt idx="10">
                  <c:v>Av Price/Unit 2.17</c:v>
                </c:pt>
                <c:pt idx="11">
                  <c:v>Av Price/Unit 1.30</c:v>
                </c:pt>
              </c:strCache>
            </c:strRef>
          </c:cat>
          <c:val>
            <c:numRef>
              <c:f>Sheet1!$D$2:$D$13</c:f>
              <c:numCache>
                <c:formatCode>General</c:formatCode>
                <c:ptCount val="12"/>
                <c:pt idx="0">
                  <c:v>0.74344564266131496</c:v>
                </c:pt>
                <c:pt idx="1">
                  <c:v>0.85060663013449256</c:v>
                </c:pt>
                <c:pt idx="2">
                  <c:v>1.0997173008991594</c:v>
                </c:pt>
                <c:pt idx="3">
                  <c:v>0.86230876864442729</c:v>
                </c:pt>
                <c:pt idx="4">
                  <c:v>0.55094168839484703</c:v>
                </c:pt>
                <c:pt idx="5">
                  <c:v>0.70137171625664174</c:v>
                </c:pt>
                <c:pt idx="6">
                  <c:v>0.77666314448408924</c:v>
                </c:pt>
                <c:pt idx="7">
                  <c:v>0.77710787503935719</c:v>
                </c:pt>
                <c:pt idx="8">
                  <c:v>0.85400431883547778</c:v>
                </c:pt>
                <c:pt idx="9">
                  <c:v>0.87499253454654347</c:v>
                </c:pt>
                <c:pt idx="10">
                  <c:v>0.83979063700139811</c:v>
                </c:pt>
                <c:pt idx="11">
                  <c:v>0.3929078532915744</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2.32</c:v>
                </c:pt>
                <c:pt idx="4">
                  <c:v>Av Price/Unit 1.66</c:v>
                </c:pt>
                <c:pt idx="5">
                  <c:v>Av Price/Unit 2.15</c:v>
                </c:pt>
                <c:pt idx="6">
                  <c:v>Av Price/Unit 2.13</c:v>
                </c:pt>
                <c:pt idx="7">
                  <c:v>Av Price/Unit 2.31</c:v>
                </c:pt>
                <c:pt idx="8">
                  <c:v>Av Price/Unit 2.11</c:v>
                </c:pt>
                <c:pt idx="9">
                  <c:v>Av Price/Unit 2.06</c:v>
                </c:pt>
                <c:pt idx="10">
                  <c:v>Av Price/Unit 2.17</c:v>
                </c:pt>
                <c:pt idx="11">
                  <c:v>Av Price/Unit 1.30</c:v>
                </c:pt>
              </c:strCache>
            </c:strRef>
          </c:cat>
          <c:val>
            <c:numRef>
              <c:f>Sheet1!$E$2:$E$13</c:f>
              <c:numCache>
                <c:formatCode>General</c:formatCode>
                <c:ptCount val="12"/>
                <c:pt idx="0">
                  <c:v>0.11947672815439424</c:v>
                </c:pt>
                <c:pt idx="1">
                  <c:v>0.13433734384867543</c:v>
                </c:pt>
                <c:pt idx="2">
                  <c:v>0.17829001350212123</c:v>
                </c:pt>
                <c:pt idx="3">
                  <c:v>0.12080416952949588</c:v>
                </c:pt>
                <c:pt idx="4">
                  <c:v>8.6307339213463355E-2</c:v>
                </c:pt>
                <c:pt idx="5">
                  <c:v>0.11183638989144364</c:v>
                </c:pt>
                <c:pt idx="6">
                  <c:v>0.11125437075789402</c:v>
                </c:pt>
                <c:pt idx="7">
                  <c:v>0.12038452067553918</c:v>
                </c:pt>
                <c:pt idx="8">
                  <c:v>0.11016583164071282</c:v>
                </c:pt>
                <c:pt idx="9">
                  <c:v>0.10765525729009154</c:v>
                </c:pt>
                <c:pt idx="10">
                  <c:v>0.11315291922960527</c:v>
                </c:pt>
                <c:pt idx="11">
                  <c:v>6.7745669657845994E-2</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33</c:v>
                </c:pt>
                <c:pt idx="1">
                  <c:v>Av Price/Unit 3.30</c:v>
                </c:pt>
                <c:pt idx="2">
                  <c:v>Av Price/Unit 2.72</c:v>
                </c:pt>
              </c:strCache>
            </c:strRef>
          </c:cat>
          <c:val>
            <c:numRef>
              <c:f>Sheet1!$B$2:$B$4</c:f>
              <c:numCache>
                <c:formatCode>General</c:formatCode>
                <c:ptCount val="3"/>
                <c:pt idx="0">
                  <c:v>0.51486084872729876</c:v>
                </c:pt>
                <c:pt idx="1">
                  <c:v>0.722055530047919</c:v>
                </c:pt>
                <c:pt idx="2">
                  <c:v>0.51313122164318525</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33</c:v>
                </c:pt>
                <c:pt idx="1">
                  <c:v>Av Price/Unit 3.30</c:v>
                </c:pt>
                <c:pt idx="2">
                  <c:v>Av Price/Unit 2.72</c:v>
                </c:pt>
              </c:strCache>
            </c:strRef>
          </c:cat>
          <c:val>
            <c:numRef>
              <c:f>Sheet1!$C$2:$C$4</c:f>
              <c:numCache>
                <c:formatCode>General</c:formatCode>
                <c:ptCount val="3"/>
                <c:pt idx="0">
                  <c:v>0.76706892978793151</c:v>
                </c:pt>
                <c:pt idx="1">
                  <c:v>1.147879432854604</c:v>
                </c:pt>
                <c:pt idx="2">
                  <c:v>1.061657080248907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33</c:v>
                </c:pt>
                <c:pt idx="1">
                  <c:v>Av Price/Unit 3.30</c:v>
                </c:pt>
                <c:pt idx="2">
                  <c:v>Av Price/Unit 2.72</c:v>
                </c:pt>
              </c:strCache>
            </c:strRef>
          </c:cat>
          <c:val>
            <c:numRef>
              <c:f>Sheet1!$D$2:$D$4</c:f>
              <c:numCache>
                <c:formatCode>General</c:formatCode>
                <c:ptCount val="3"/>
                <c:pt idx="0">
                  <c:v>0.9313761736766375</c:v>
                </c:pt>
                <c:pt idx="1">
                  <c:v>1.2577734734074431</c:v>
                </c:pt>
                <c:pt idx="2">
                  <c:v>1.000143200359277</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33</c:v>
                </c:pt>
                <c:pt idx="1">
                  <c:v>Av Price/Unit 3.30</c:v>
                </c:pt>
                <c:pt idx="2">
                  <c:v>Av Price/Unit 2.72</c:v>
                </c:pt>
              </c:strCache>
            </c:strRef>
          </c:cat>
          <c:val>
            <c:numRef>
              <c:f>Sheet1!$E$2:$E$4</c:f>
              <c:numCache>
                <c:formatCode>General</c:formatCode>
                <c:ptCount val="3"/>
                <c:pt idx="0">
                  <c:v>0.12173054425093276</c:v>
                </c:pt>
                <c:pt idx="1">
                  <c:v>0.1720239639970475</c:v>
                </c:pt>
                <c:pt idx="2">
                  <c:v>0.14162371821189068</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9B4B8DC-43E8-4A79-905D-C5266C6E9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46BD55C-0A95-47C9-A1CC-015D17605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C91CEED-88D6-46B4-B46A-C655B22FB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CFF5-4D9B-9947-2A90D7752FBB}"/>
                </c:ext>
              </c:extLst>
            </c:dLbl>
            <c:dLbl>
              <c:idx val="3"/>
              <c:tx>
                <c:rich>
                  <a:bodyPr/>
                  <a:lstStyle/>
                  <a:p>
                    <a:fld id="{23958F19-6AE6-439D-8A9D-2916EA692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2AA8AB41-6001-4BBC-A52C-DB2A3D631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BD4688A8-6F6A-4CEE-B950-B2B06ECEE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BD0B0EC1-2FFF-42B7-9670-89CF4A862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1D6BA747-5888-44EE-8A3E-2674A0862B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0.2614</c:v>
                </c:pt>
                <c:pt idx="1">
                  <c:v>19.001899999999999</c:v>
                </c:pt>
              </c:numCache>
            </c:numRef>
          </c:xVal>
          <c:yVal>
            <c:numRef>
              <c:f>Sheet1!$B$2:$B$3</c:f>
              <c:numCache>
                <c:formatCode>General</c:formatCode>
                <c:ptCount val="2"/>
                <c:pt idx="0">
                  <c:v>0.42699999999999999</c:v>
                </c:pt>
                <c:pt idx="1">
                  <c:v>0.2656</c:v>
                </c:pt>
              </c:numCache>
            </c:numRef>
          </c:yVal>
          <c:bubbleSize>
            <c:numRef>
              <c:f>Sheet1!$C$2:$C$3</c:f>
              <c:numCache>
                <c:formatCode>General</c:formatCode>
                <c:ptCount val="2"/>
                <c:pt idx="0">
                  <c:v>3322831.9249</c:v>
                </c:pt>
                <c:pt idx="1">
                  <c:v>627576.04469999997</c:v>
                </c:pt>
              </c:numCache>
            </c:numRef>
          </c:bubbleSize>
          <c:bubble3D val="0"/>
          <c:extLst>
            <c:ext xmlns:c15="http://schemas.microsoft.com/office/drawing/2012/chart" uri="{02D57815-91ED-43cb-92C2-25804820EDAC}">
              <c15:datalabelsRange>
                <c15:f>Sheet1!$E$2:$E$29</c15:f>
                <c15:dlblRangeCache>
                  <c:ptCount val="28"/>
                  <c:pt idx="0">
                    <c:v>Apericube</c:v>
                  </c:pt>
                  <c:pt idx="1">
                    <c:v>Boursin</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2.80228"/>
          <c:min val="8.2091200000000004"/>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013594144214841"/>
        <c:crossBetween val="midCat"/>
      </c:valAx>
      <c:valAx>
        <c:axId val="1011451359"/>
        <c:scaling>
          <c:orientation val="minMax"/>
          <c:max val="0.87239999999999995"/>
          <c:min val="-2.7519999999999989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6499473249629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1.66</c:v>
                </c:pt>
                <c:pt idx="4">
                  <c:v>Av Price/Unit 2.15</c:v>
                </c:pt>
                <c:pt idx="5">
                  <c:v>Av Price/Unit 2.13</c:v>
                </c:pt>
                <c:pt idx="6">
                  <c:v>Av Price/Unit 2.31</c:v>
                </c:pt>
                <c:pt idx="7">
                  <c:v>Av Price/Unit 1.30</c:v>
                </c:pt>
                <c:pt idx="8">
                  <c:v>Av Price/Unit 3.42</c:v>
                </c:pt>
                <c:pt idx="9">
                  <c:v>Av Price/Unit 2.28</c:v>
                </c:pt>
                <c:pt idx="10">
                  <c:v>Av Price/Unit 2.01</c:v>
                </c:pt>
                <c:pt idx="11">
                  <c:v>Av Price/Unit 3.73</c:v>
                </c:pt>
              </c:strCache>
            </c:strRef>
          </c:cat>
          <c:val>
            <c:numRef>
              <c:f>Sheet1!$B$2:$B$13</c:f>
              <c:numCache>
                <c:formatCode>General</c:formatCode>
                <c:ptCount val="12"/>
                <c:pt idx="0">
                  <c:v>0.52949882280513305</c:v>
                </c:pt>
                <c:pt idx="1">
                  <c:v>0.52897620446062821</c:v>
                </c:pt>
                <c:pt idx="2">
                  <c:v>0.64024583557505954</c:v>
                </c:pt>
                <c:pt idx="3">
                  <c:v>0.37396960825632253</c:v>
                </c:pt>
                <c:pt idx="4">
                  <c:v>0.45248376840644045</c:v>
                </c:pt>
                <c:pt idx="5">
                  <c:v>0.43111069258852941</c:v>
                </c:pt>
                <c:pt idx="6">
                  <c:v>0.47997967913880701</c:v>
                </c:pt>
                <c:pt idx="7">
                  <c:v>0.32830701836504306</c:v>
                </c:pt>
                <c:pt idx="8">
                  <c:v>0.70059861708749438</c:v>
                </c:pt>
                <c:pt idx="9">
                  <c:v>0.47580307788944726</c:v>
                </c:pt>
                <c:pt idx="10">
                  <c:v>-9.9519841937111154E-3</c:v>
                </c:pt>
                <c:pt idx="11">
                  <c:v>0.28495874796873794</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1.66</c:v>
                </c:pt>
                <c:pt idx="4">
                  <c:v>Av Price/Unit 2.15</c:v>
                </c:pt>
                <c:pt idx="5">
                  <c:v>Av Price/Unit 2.13</c:v>
                </c:pt>
                <c:pt idx="6">
                  <c:v>Av Price/Unit 2.31</c:v>
                </c:pt>
                <c:pt idx="7">
                  <c:v>Av Price/Unit 1.30</c:v>
                </c:pt>
                <c:pt idx="8">
                  <c:v>Av Price/Unit 3.42</c:v>
                </c:pt>
                <c:pt idx="9">
                  <c:v>Av Price/Unit 2.28</c:v>
                </c:pt>
                <c:pt idx="10">
                  <c:v>Av Price/Unit 2.01</c:v>
                </c:pt>
                <c:pt idx="11">
                  <c:v>Av Price/Unit 3.73</c:v>
                </c:pt>
              </c:strCache>
            </c:strRef>
          </c:cat>
          <c:val>
            <c:numRef>
              <c:f>Sheet1!$C$2:$C$13</c:f>
              <c:numCache>
                <c:formatCode>General</c:formatCode>
                <c:ptCount val="12"/>
                <c:pt idx="0">
                  <c:v>0.89925968279527502</c:v>
                </c:pt>
                <c:pt idx="1">
                  <c:v>1.0629143262898952</c:v>
                </c:pt>
                <c:pt idx="2">
                  <c:v>1.5017285332304842</c:v>
                </c:pt>
                <c:pt idx="3">
                  <c:v>0.6443705578761687</c:v>
                </c:pt>
                <c:pt idx="4">
                  <c:v>0.87948727181616437</c:v>
                </c:pt>
                <c:pt idx="5">
                  <c:v>0.81503290398000128</c:v>
                </c:pt>
                <c:pt idx="6">
                  <c:v>0.93172191264981685</c:v>
                </c:pt>
                <c:pt idx="7">
                  <c:v>0.51052457666785978</c:v>
                </c:pt>
                <c:pt idx="8">
                  <c:v>1.7380701523639415</c:v>
                </c:pt>
                <c:pt idx="9">
                  <c:v>0.88091224874371854</c:v>
                </c:pt>
                <c:pt idx="10">
                  <c:v>0.91758141079535893</c:v>
                </c:pt>
                <c:pt idx="11">
                  <c:v>2.163750769945059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1.66</c:v>
                </c:pt>
                <c:pt idx="4">
                  <c:v>Av Price/Unit 2.15</c:v>
                </c:pt>
                <c:pt idx="5">
                  <c:v>Av Price/Unit 2.13</c:v>
                </c:pt>
                <c:pt idx="6">
                  <c:v>Av Price/Unit 2.31</c:v>
                </c:pt>
                <c:pt idx="7">
                  <c:v>Av Price/Unit 1.30</c:v>
                </c:pt>
                <c:pt idx="8">
                  <c:v>Av Price/Unit 3.42</c:v>
                </c:pt>
                <c:pt idx="9">
                  <c:v>Av Price/Unit 2.28</c:v>
                </c:pt>
                <c:pt idx="10">
                  <c:v>Av Price/Unit 2.01</c:v>
                </c:pt>
                <c:pt idx="11">
                  <c:v>Av Price/Unit 3.73</c:v>
                </c:pt>
              </c:strCache>
            </c:strRef>
          </c:cat>
          <c:val>
            <c:numRef>
              <c:f>Sheet1!$D$2:$D$13</c:f>
              <c:numCache>
                <c:formatCode>General</c:formatCode>
                <c:ptCount val="12"/>
                <c:pt idx="0">
                  <c:v>0.74344564266131496</c:v>
                </c:pt>
                <c:pt idx="1">
                  <c:v>0.85060663013449256</c:v>
                </c:pt>
                <c:pt idx="2">
                  <c:v>1.0997173008991594</c:v>
                </c:pt>
                <c:pt idx="3">
                  <c:v>0.55094168839484703</c:v>
                </c:pt>
                <c:pt idx="4">
                  <c:v>0.70137171625664174</c:v>
                </c:pt>
                <c:pt idx="5">
                  <c:v>0.77666314448408924</c:v>
                </c:pt>
                <c:pt idx="6">
                  <c:v>0.77710787503935719</c:v>
                </c:pt>
                <c:pt idx="7">
                  <c:v>0.3929078532915744</c:v>
                </c:pt>
                <c:pt idx="8">
                  <c:v>0.79830664861535006</c:v>
                </c:pt>
                <c:pt idx="9">
                  <c:v>0.80295248319004187</c:v>
                </c:pt>
                <c:pt idx="10">
                  <c:v>0.99918248302342094</c:v>
                </c:pt>
                <c:pt idx="11">
                  <c:v>1.0849847824500429</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29</c:v>
                </c:pt>
                <c:pt idx="1">
                  <c:v>Av Price/Unit 2.58</c:v>
                </c:pt>
                <c:pt idx="2">
                  <c:v>Av Price/Unit 3.42</c:v>
                </c:pt>
                <c:pt idx="3">
                  <c:v>Av Price/Unit 1.66</c:v>
                </c:pt>
                <c:pt idx="4">
                  <c:v>Av Price/Unit 2.15</c:v>
                </c:pt>
                <c:pt idx="5">
                  <c:v>Av Price/Unit 2.13</c:v>
                </c:pt>
                <c:pt idx="6">
                  <c:v>Av Price/Unit 2.31</c:v>
                </c:pt>
                <c:pt idx="7">
                  <c:v>Av Price/Unit 1.30</c:v>
                </c:pt>
                <c:pt idx="8">
                  <c:v>Av Price/Unit 3.42</c:v>
                </c:pt>
                <c:pt idx="9">
                  <c:v>Av Price/Unit 2.28</c:v>
                </c:pt>
                <c:pt idx="10">
                  <c:v>Av Price/Unit 2.01</c:v>
                </c:pt>
                <c:pt idx="11">
                  <c:v>Av Price/Unit 3.73</c:v>
                </c:pt>
              </c:strCache>
            </c:strRef>
          </c:cat>
          <c:val>
            <c:numRef>
              <c:f>Sheet1!$E$2:$E$13</c:f>
              <c:numCache>
                <c:formatCode>General</c:formatCode>
                <c:ptCount val="12"/>
                <c:pt idx="0">
                  <c:v>0.11947672815439424</c:v>
                </c:pt>
                <c:pt idx="1">
                  <c:v>0.13433734384867543</c:v>
                </c:pt>
                <c:pt idx="2">
                  <c:v>0.17829001350212123</c:v>
                </c:pt>
                <c:pt idx="3">
                  <c:v>8.6307339213463355E-2</c:v>
                </c:pt>
                <c:pt idx="4">
                  <c:v>0.11183638989144364</c:v>
                </c:pt>
                <c:pt idx="5">
                  <c:v>0.11125437075789402</c:v>
                </c:pt>
                <c:pt idx="6">
                  <c:v>0.12038452067553918</c:v>
                </c:pt>
                <c:pt idx="7">
                  <c:v>6.7745669657845994E-2</c:v>
                </c:pt>
                <c:pt idx="8">
                  <c:v>0.17803364799367302</c:v>
                </c:pt>
                <c:pt idx="9">
                  <c:v>0.11878172954027624</c:v>
                </c:pt>
                <c:pt idx="10">
                  <c:v>0.10487465502937893</c:v>
                </c:pt>
                <c:pt idx="11">
                  <c:v>0.194350936810191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2</c:v>
                </c:pt>
                <c:pt idx="1">
                  <c:v>Av Price/Unit 2.11</c:v>
                </c:pt>
                <c:pt idx="2">
                  <c:v>Av Price/Unit 2.06</c:v>
                </c:pt>
                <c:pt idx="3">
                  <c:v>Av Price/Unit 2.17</c:v>
                </c:pt>
                <c:pt idx="4">
                  <c:v>Av Price/Unit 2.15</c:v>
                </c:pt>
                <c:pt idx="5">
                  <c:v>Av Price/Unit 2.14</c:v>
                </c:pt>
              </c:strCache>
            </c:strRef>
          </c:cat>
          <c:val>
            <c:numRef>
              <c:f>Sheet1!$B$2:$B$7</c:f>
              <c:numCache>
                <c:formatCode>General</c:formatCode>
                <c:ptCount val="6"/>
                <c:pt idx="0">
                  <c:v>0.45863882742205797</c:v>
                </c:pt>
                <c:pt idx="1">
                  <c:v>0.23614496095238097</c:v>
                </c:pt>
                <c:pt idx="2">
                  <c:v>0.16756416253450257</c:v>
                </c:pt>
                <c:pt idx="3">
                  <c:v>0.31000140577507601</c:v>
                </c:pt>
                <c:pt idx="4">
                  <c:v>0.3599</c:v>
                </c:pt>
                <c:pt idx="5">
                  <c:v>6.9786485099337728E-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2</c:v>
                </c:pt>
                <c:pt idx="1">
                  <c:v>Av Price/Unit 2.11</c:v>
                </c:pt>
                <c:pt idx="2">
                  <c:v>Av Price/Unit 2.06</c:v>
                </c:pt>
                <c:pt idx="3">
                  <c:v>Av Price/Unit 2.17</c:v>
                </c:pt>
                <c:pt idx="4">
                  <c:v>Av Price/Unit 2.15</c:v>
                </c:pt>
                <c:pt idx="5">
                  <c:v>Av Price/Unit 2.14</c:v>
                </c:pt>
              </c:strCache>
            </c:strRef>
          </c:cat>
          <c:val>
            <c:numRef>
              <c:f>Sheet1!$C$2:$C$7</c:f>
              <c:numCache>
                <c:formatCode>General</c:formatCode>
                <c:ptCount val="6"/>
                <c:pt idx="0">
                  <c:v>0.87549184992434137</c:v>
                </c:pt>
                <c:pt idx="1">
                  <c:v>0.91286584095238099</c:v>
                </c:pt>
                <c:pt idx="2">
                  <c:v>0.91481161728425231</c:v>
                </c:pt>
                <c:pt idx="3">
                  <c:v>0.90753376139817632</c:v>
                </c:pt>
                <c:pt idx="4">
                  <c:v>0.89190000000000014</c:v>
                </c:pt>
                <c:pt idx="5">
                  <c:v>0.87096482119205265</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2</c:v>
                </c:pt>
                <c:pt idx="1">
                  <c:v>Av Price/Unit 2.11</c:v>
                </c:pt>
                <c:pt idx="2">
                  <c:v>Av Price/Unit 2.06</c:v>
                </c:pt>
                <c:pt idx="3">
                  <c:v>Av Price/Unit 2.17</c:v>
                </c:pt>
                <c:pt idx="4">
                  <c:v>Av Price/Unit 2.15</c:v>
                </c:pt>
                <c:pt idx="5">
                  <c:v>Av Price/Unit 2.14</c:v>
                </c:pt>
              </c:strCache>
            </c:strRef>
          </c:cat>
          <c:val>
            <c:numRef>
              <c:f>Sheet1!$D$2:$D$7</c:f>
              <c:numCache>
                <c:formatCode>General</c:formatCode>
                <c:ptCount val="6"/>
                <c:pt idx="0">
                  <c:v>0.86230876864442729</c:v>
                </c:pt>
                <c:pt idx="1">
                  <c:v>0.85400431883547778</c:v>
                </c:pt>
                <c:pt idx="2">
                  <c:v>0.87499253454654347</c:v>
                </c:pt>
                <c:pt idx="3">
                  <c:v>0.83979063700139811</c:v>
                </c:pt>
                <c:pt idx="4">
                  <c:v>0.78937410427015231</c:v>
                </c:pt>
                <c:pt idx="5">
                  <c:v>1.088775785089921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2</c:v>
                </c:pt>
                <c:pt idx="1">
                  <c:v>Av Price/Unit 2.11</c:v>
                </c:pt>
                <c:pt idx="2">
                  <c:v>Av Price/Unit 2.06</c:v>
                </c:pt>
                <c:pt idx="3">
                  <c:v>Av Price/Unit 2.17</c:v>
                </c:pt>
                <c:pt idx="4">
                  <c:v>Av Price/Unit 2.15</c:v>
                </c:pt>
                <c:pt idx="5">
                  <c:v>Av Price/Unit 2.14</c:v>
                </c:pt>
              </c:strCache>
            </c:strRef>
          </c:cat>
          <c:val>
            <c:numRef>
              <c:f>Sheet1!$E$2:$E$7</c:f>
              <c:numCache>
                <c:formatCode>General</c:formatCode>
                <c:ptCount val="6"/>
                <c:pt idx="0">
                  <c:v>0.12080416952949588</c:v>
                </c:pt>
                <c:pt idx="1">
                  <c:v>0.11016583164071282</c:v>
                </c:pt>
                <c:pt idx="2">
                  <c:v>0.10765525729009154</c:v>
                </c:pt>
                <c:pt idx="3">
                  <c:v>0.11315291922960527</c:v>
                </c:pt>
                <c:pt idx="4">
                  <c:v>0.11226457573485851</c:v>
                </c:pt>
                <c:pt idx="5">
                  <c:v>0.11162008411537613</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38</c:v>
                </c:pt>
                <c:pt idx="1">
                  <c:v>Av Price/Unit 2.52</c:v>
                </c:pt>
                <c:pt idx="2">
                  <c:v>Av Price/Unit 3.42</c:v>
                </c:pt>
              </c:strCache>
            </c:strRef>
          </c:cat>
          <c:val>
            <c:numRef>
              <c:f>Sheet1!$B$2:$B$4</c:f>
              <c:numCache>
                <c:formatCode>General</c:formatCode>
                <c:ptCount val="3"/>
                <c:pt idx="0">
                  <c:v>0.45854906830570685</c:v>
                </c:pt>
                <c:pt idx="1">
                  <c:v>0.32471799434187021</c:v>
                </c:pt>
                <c:pt idx="2">
                  <c:v>0.43009999999999998</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38</c:v>
                </c:pt>
                <c:pt idx="1">
                  <c:v>Av Price/Unit 2.52</c:v>
                </c:pt>
                <c:pt idx="2">
                  <c:v>Av Price/Unit 3.42</c:v>
                </c:pt>
              </c:strCache>
            </c:strRef>
          </c:cat>
          <c:val>
            <c:numRef>
              <c:f>Sheet1!$C$2:$C$4</c:f>
              <c:numCache>
                <c:formatCode>General</c:formatCode>
                <c:ptCount val="3"/>
                <c:pt idx="0">
                  <c:v>0.76579730643008137</c:v>
                </c:pt>
                <c:pt idx="1">
                  <c:v>1.0359303082191784</c:v>
                </c:pt>
                <c:pt idx="2">
                  <c:v>1.1939</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38</c:v>
                </c:pt>
                <c:pt idx="1">
                  <c:v>Av Price/Unit 2.52</c:v>
                </c:pt>
                <c:pt idx="2">
                  <c:v>Av Price/Unit 3.42</c:v>
                </c:pt>
              </c:strCache>
            </c:strRef>
          </c:cat>
          <c:val>
            <c:numRef>
              <c:f>Sheet1!$D$2:$D$4</c:f>
              <c:numCache>
                <c:formatCode>General</c:formatCode>
                <c:ptCount val="3"/>
                <c:pt idx="0">
                  <c:v>1.0335309359983069</c:v>
                </c:pt>
                <c:pt idx="1">
                  <c:v>1.0295022609937652</c:v>
                </c:pt>
                <c:pt idx="2">
                  <c:v>1.6183036706093243</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v Price/Unit 2.38</c:v>
                </c:pt>
                <c:pt idx="1">
                  <c:v>Av Price/Unit 2.52</c:v>
                </c:pt>
                <c:pt idx="2">
                  <c:v>Av Price/Unit 3.42</c:v>
                </c:pt>
              </c:strCache>
            </c:strRef>
          </c:cat>
          <c:val>
            <c:numRef>
              <c:f>Sheet1!$E$2:$E$4</c:f>
              <c:numCache>
                <c:formatCode>General</c:formatCode>
                <c:ptCount val="3"/>
                <c:pt idx="0">
                  <c:v>0.12418513271530583</c:v>
                </c:pt>
                <c:pt idx="1">
                  <c:v>0.1314582809955141</c:v>
                </c:pt>
                <c:pt idx="2">
                  <c:v>0.17832670188351246</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26</c:v>
                </c:pt>
                <c:pt idx="5">
                  <c:v>Av Price/Unit 2.37</c:v>
                </c:pt>
                <c:pt idx="6">
                  <c:v>Av Price/Unit 2.33</c:v>
                </c:pt>
                <c:pt idx="7">
                  <c:v>Av Price/Unit 3.32</c:v>
                </c:pt>
                <c:pt idx="8">
                  <c:v>Av Price/Unit 2.27</c:v>
                </c:pt>
                <c:pt idx="9">
                  <c:v>Av Price/Unit 2.66</c:v>
                </c:pt>
                <c:pt idx="10">
                  <c:v>Av Price/Unit 1.40</c:v>
                </c:pt>
                <c:pt idx="11">
                  <c:v>Av Price/Unit 2.06</c:v>
                </c:pt>
              </c:strCache>
            </c:strRef>
          </c:cat>
          <c:val>
            <c:numRef>
              <c:f>Sheet1!$B$2:$B$13</c:f>
              <c:numCache>
                <c:formatCode>General</c:formatCode>
                <c:ptCount val="12"/>
                <c:pt idx="0">
                  <c:v>0.42012280520508982</c:v>
                </c:pt>
                <c:pt idx="1">
                  <c:v>0.433677487269715</c:v>
                </c:pt>
                <c:pt idx="2">
                  <c:v>0.42327455357700045</c:v>
                </c:pt>
                <c:pt idx="3">
                  <c:v>0.3485742495752312</c:v>
                </c:pt>
                <c:pt idx="4">
                  <c:v>0.27710899523586008</c:v>
                </c:pt>
                <c:pt idx="5">
                  <c:v>0.40460871232362994</c:v>
                </c:pt>
                <c:pt idx="6">
                  <c:v>0.37919900108806098</c:v>
                </c:pt>
                <c:pt idx="7">
                  <c:v>0.19363882496228027</c:v>
                </c:pt>
                <c:pt idx="8">
                  <c:v>0.45761859418699558</c:v>
                </c:pt>
                <c:pt idx="9">
                  <c:v>0.36772032849672226</c:v>
                </c:pt>
                <c:pt idx="10">
                  <c:v>0.29319422271398088</c:v>
                </c:pt>
                <c:pt idx="11">
                  <c:v>-2.7012210838625938E-2</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26</c:v>
                </c:pt>
                <c:pt idx="5">
                  <c:v>Av Price/Unit 2.37</c:v>
                </c:pt>
                <c:pt idx="6">
                  <c:v>Av Price/Unit 2.33</c:v>
                </c:pt>
                <c:pt idx="7">
                  <c:v>Av Price/Unit 3.32</c:v>
                </c:pt>
                <c:pt idx="8">
                  <c:v>Av Price/Unit 2.27</c:v>
                </c:pt>
                <c:pt idx="9">
                  <c:v>Av Price/Unit 2.66</c:v>
                </c:pt>
                <c:pt idx="10">
                  <c:v>Av Price/Unit 1.40</c:v>
                </c:pt>
                <c:pt idx="11">
                  <c:v>Av Price/Unit 2.06</c:v>
                </c:pt>
              </c:strCache>
            </c:strRef>
          </c:cat>
          <c:val>
            <c:numRef>
              <c:f>Sheet1!$C$2:$C$13</c:f>
              <c:numCache>
                <c:formatCode>General</c:formatCode>
                <c:ptCount val="12"/>
                <c:pt idx="0">
                  <c:v>1.0606184662803047</c:v>
                </c:pt>
                <c:pt idx="1">
                  <c:v>1.500939785214487</c:v>
                </c:pt>
                <c:pt idx="2">
                  <c:v>0.89905207097479345</c:v>
                </c:pt>
                <c:pt idx="3">
                  <c:v>0.6411008684160846</c:v>
                </c:pt>
                <c:pt idx="4">
                  <c:v>0.816096402285723</c:v>
                </c:pt>
                <c:pt idx="5">
                  <c:v>0.92758385365396356</c:v>
                </c:pt>
                <c:pt idx="6">
                  <c:v>0.88055412729482552</c:v>
                </c:pt>
                <c:pt idx="7">
                  <c:v>1.7301012197560486</c:v>
                </c:pt>
                <c:pt idx="8">
                  <c:v>0.85492841032263245</c:v>
                </c:pt>
                <c:pt idx="9">
                  <c:v>1.0539723429329011</c:v>
                </c:pt>
                <c:pt idx="10">
                  <c:v>0.50327321109618262</c:v>
                </c:pt>
                <c:pt idx="11">
                  <c:v>0.93269871123267356</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26</c:v>
                </c:pt>
                <c:pt idx="5">
                  <c:v>Av Price/Unit 2.37</c:v>
                </c:pt>
                <c:pt idx="6">
                  <c:v>Av Price/Unit 2.33</c:v>
                </c:pt>
                <c:pt idx="7">
                  <c:v>Av Price/Unit 3.32</c:v>
                </c:pt>
                <c:pt idx="8">
                  <c:v>Av Price/Unit 2.27</c:v>
                </c:pt>
                <c:pt idx="9">
                  <c:v>Av Price/Unit 2.66</c:v>
                </c:pt>
                <c:pt idx="10">
                  <c:v>Av Price/Unit 1.40</c:v>
                </c:pt>
                <c:pt idx="11">
                  <c:v>Av Price/Unit 2.06</c:v>
                </c:pt>
              </c:strCache>
            </c:strRef>
          </c:cat>
          <c:val>
            <c:numRef>
              <c:f>Sheet1!$D$2:$D$13</c:f>
              <c:numCache>
                <c:formatCode>General</c:formatCode>
                <c:ptCount val="12"/>
                <c:pt idx="0">
                  <c:v>0.82266446394684589</c:v>
                </c:pt>
                <c:pt idx="1">
                  <c:v>1.1521241036449539</c:v>
                </c:pt>
                <c:pt idx="2">
                  <c:v>0.74879604952620782</c:v>
                </c:pt>
                <c:pt idx="3">
                  <c:v>0.66721016021273116</c:v>
                </c:pt>
                <c:pt idx="4">
                  <c:v>1.0498914491552349</c:v>
                </c:pt>
                <c:pt idx="5">
                  <c:v>0.91229970208139433</c:v>
                </c:pt>
                <c:pt idx="6">
                  <c:v>0.94516487353658163</c:v>
                </c:pt>
                <c:pt idx="7">
                  <c:v>1.2272066724440542</c:v>
                </c:pt>
                <c:pt idx="8">
                  <c:v>0.84228176413618172</c:v>
                </c:pt>
                <c:pt idx="9">
                  <c:v>1.0991619649940358</c:v>
                </c:pt>
                <c:pt idx="10">
                  <c:v>0.53338858006811807</c:v>
                </c:pt>
                <c:pt idx="11">
                  <c:v>1.0512589421992535</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v Price/Unit 2.43</c:v>
                </c:pt>
                <c:pt idx="1">
                  <c:v>Av Price/Unit 3.26</c:v>
                </c:pt>
                <c:pt idx="2">
                  <c:v>Av Price/Unit 2.19</c:v>
                </c:pt>
                <c:pt idx="3">
                  <c:v>Av Price/Unit 1.75</c:v>
                </c:pt>
                <c:pt idx="4">
                  <c:v>Av Price/Unit 2.26</c:v>
                </c:pt>
                <c:pt idx="5">
                  <c:v>Av Price/Unit 2.37</c:v>
                </c:pt>
                <c:pt idx="6">
                  <c:v>Av Price/Unit 2.33</c:v>
                </c:pt>
                <c:pt idx="7">
                  <c:v>Av Price/Unit 3.32</c:v>
                </c:pt>
                <c:pt idx="8">
                  <c:v>Av Price/Unit 2.27</c:v>
                </c:pt>
                <c:pt idx="9">
                  <c:v>Av Price/Unit 2.66</c:v>
                </c:pt>
                <c:pt idx="10">
                  <c:v>Av Price/Unit 1.40</c:v>
                </c:pt>
                <c:pt idx="11">
                  <c:v>Av Price/Unit 2.06</c:v>
                </c:pt>
              </c:strCache>
            </c:strRef>
          </c:cat>
          <c:val>
            <c:numRef>
              <c:f>Sheet1!$E$2:$E$13</c:f>
              <c:numCache>
                <c:formatCode>General</c:formatCode>
                <c:ptCount val="12"/>
                <c:pt idx="0">
                  <c:v>0.12668731544877293</c:v>
                </c:pt>
                <c:pt idx="1">
                  <c:v>0.16976777881387045</c:v>
                </c:pt>
                <c:pt idx="2">
                  <c:v>0.11391174707429051</c:v>
                </c:pt>
                <c:pt idx="3">
                  <c:v>9.1125832834732134E-2</c:v>
                </c:pt>
                <c:pt idx="4">
                  <c:v>0.11786785688041893</c:v>
                </c:pt>
                <c:pt idx="5">
                  <c:v>0.12344707474324408</c:v>
                </c:pt>
                <c:pt idx="6">
                  <c:v>0.12127049010557099</c:v>
                </c:pt>
                <c:pt idx="7">
                  <c:v>0.17330206944393153</c:v>
                </c:pt>
                <c:pt idx="8">
                  <c:v>0.1185155822755196</c:v>
                </c:pt>
                <c:pt idx="9">
                  <c:v>0.13864443553627248</c:v>
                </c:pt>
                <c:pt idx="10">
                  <c:v>7.3136580763305384E-2</c:v>
                </c:pt>
                <c:pt idx="11">
                  <c:v>0.10763199934263151</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B$1</c:f>
              <c:strCache>
                <c:ptCount val="1"/>
                <c:pt idx="0">
                  <c:v>GP</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6</c:v>
                </c:pt>
                <c:pt idx="1">
                  <c:v>Av Price/Unit 2.32</c:v>
                </c:pt>
                <c:pt idx="2">
                  <c:v>Av Price/Unit 2.26</c:v>
                </c:pt>
                <c:pt idx="3">
                  <c:v>Av Price/Unit 2.22</c:v>
                </c:pt>
                <c:pt idx="4">
                  <c:v>Av Price/Unit 2.31</c:v>
                </c:pt>
                <c:pt idx="5">
                  <c:v>Av Price/Unit 2.46</c:v>
                </c:pt>
              </c:strCache>
            </c:strRef>
          </c:cat>
          <c:val>
            <c:numRef>
              <c:f>Sheet1!$B$2:$B$7</c:f>
              <c:numCache>
                <c:formatCode>General</c:formatCode>
                <c:ptCount val="6"/>
                <c:pt idx="0">
                  <c:v>0.3953068660208956</c:v>
                </c:pt>
                <c:pt idx="1">
                  <c:v>0.35435213426989054</c:v>
                </c:pt>
                <c:pt idx="2">
                  <c:v>0.40757838468267071</c:v>
                </c:pt>
                <c:pt idx="3">
                  <c:v>0.47289999999999993</c:v>
                </c:pt>
                <c:pt idx="4">
                  <c:v>0.22346482610487947</c:v>
                </c:pt>
                <c:pt idx="5">
                  <c:v>0.32619999999999999</c:v>
                </c:pt>
              </c:numCache>
            </c:numRef>
          </c:val>
          <c:extLst>
            <c:ext xmlns:c16="http://schemas.microsoft.com/office/drawing/2014/chart" uri="{C3380CC4-5D6E-409C-BE32-E72D297353CC}">
              <c16:uniqueId val="{00000002-5D78-465D-81C0-17A63C1ED1CB}"/>
            </c:ext>
          </c:extLst>
        </c:ser>
        <c:ser>
          <c:idx val="1"/>
          <c:order val="1"/>
          <c:tx>
            <c:strRef>
              <c:f>Sheet1!$C$1</c:f>
              <c:strCache>
                <c:ptCount val="1"/>
                <c:pt idx="0">
                  <c:v>COG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6</c:v>
                </c:pt>
                <c:pt idx="1">
                  <c:v>Av Price/Unit 2.32</c:v>
                </c:pt>
                <c:pt idx="2">
                  <c:v>Av Price/Unit 2.26</c:v>
                </c:pt>
                <c:pt idx="3">
                  <c:v>Av Price/Unit 2.22</c:v>
                </c:pt>
                <c:pt idx="4">
                  <c:v>Av Price/Unit 2.31</c:v>
                </c:pt>
                <c:pt idx="5">
                  <c:v>Av Price/Unit 2.46</c:v>
                </c:pt>
              </c:strCache>
            </c:strRef>
          </c:cat>
          <c:val>
            <c:numRef>
              <c:f>Sheet1!$C$2:$C$7</c:f>
              <c:numCache>
                <c:formatCode>General</c:formatCode>
                <c:ptCount val="6"/>
                <c:pt idx="0">
                  <c:v>0.87247499745887147</c:v>
                </c:pt>
                <c:pt idx="1">
                  <c:v>0.91884871842496274</c:v>
                </c:pt>
                <c:pt idx="2">
                  <c:v>0.90751013703955674</c:v>
                </c:pt>
                <c:pt idx="3">
                  <c:v>0.86539999999999995</c:v>
                </c:pt>
                <c:pt idx="4">
                  <c:v>0.90068188583454478</c:v>
                </c:pt>
                <c:pt idx="5">
                  <c:v>0.89190000000000014</c:v>
                </c:pt>
              </c:numCache>
            </c:numRef>
          </c:val>
          <c:extLst>
            <c:ext xmlns:c16="http://schemas.microsoft.com/office/drawing/2014/chart" uri="{C3380CC4-5D6E-409C-BE32-E72D297353CC}">
              <c16:uniqueId val="{00000001-5D78-465D-81C0-17A63C1ED1CB}"/>
            </c:ext>
          </c:extLst>
        </c:ser>
        <c:ser>
          <c:idx val="3"/>
          <c:order val="2"/>
          <c:tx>
            <c:strRef>
              <c:f>Sheet1!$D$1</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6</c:v>
                </c:pt>
                <c:pt idx="1">
                  <c:v>Av Price/Unit 2.32</c:v>
                </c:pt>
                <c:pt idx="2">
                  <c:v>Av Price/Unit 2.26</c:v>
                </c:pt>
                <c:pt idx="3">
                  <c:v>Av Price/Unit 2.22</c:v>
                </c:pt>
                <c:pt idx="4">
                  <c:v>Av Price/Unit 2.31</c:v>
                </c:pt>
                <c:pt idx="5">
                  <c:v>Av Price/Unit 2.46</c:v>
                </c:pt>
              </c:strCache>
            </c:strRef>
          </c:cat>
          <c:val>
            <c:numRef>
              <c:f>Sheet1!$D$2:$D$7</c:f>
              <c:numCache>
                <c:formatCode>General</c:formatCode>
                <c:ptCount val="6"/>
                <c:pt idx="0">
                  <c:v>0.97322231381046653</c:v>
                </c:pt>
                <c:pt idx="1">
                  <c:v>0.92376600775239748</c:v>
                </c:pt>
                <c:pt idx="2">
                  <c:v>0.82491375374888531</c:v>
                </c:pt>
                <c:pt idx="3">
                  <c:v>0.7654052799219071</c:v>
                </c:pt>
                <c:pt idx="4">
                  <c:v>1.0666357716308386</c:v>
                </c:pt>
                <c:pt idx="5">
                  <c:v>1.1153302890997796</c:v>
                </c:pt>
              </c:numCache>
            </c:numRef>
          </c:val>
          <c:extLst>
            <c:ext xmlns:c16="http://schemas.microsoft.com/office/drawing/2014/chart" uri="{C3380CC4-5D6E-409C-BE32-E72D297353CC}">
              <c16:uniqueId val="{00000003-5D78-465D-81C0-17A63C1ED1CB}"/>
            </c:ext>
          </c:extLst>
        </c:ser>
        <c:ser>
          <c:idx val="4"/>
          <c:order val="3"/>
          <c:tx>
            <c:strRef>
              <c:f>Sheet1!$E$1</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v Price/Unit 2.36</c:v>
                </c:pt>
                <c:pt idx="1">
                  <c:v>Av Price/Unit 2.32</c:v>
                </c:pt>
                <c:pt idx="2">
                  <c:v>Av Price/Unit 2.26</c:v>
                </c:pt>
                <c:pt idx="3">
                  <c:v>Av Price/Unit 2.22</c:v>
                </c:pt>
                <c:pt idx="4">
                  <c:v>Av Price/Unit 2.31</c:v>
                </c:pt>
                <c:pt idx="5">
                  <c:v>Av Price/Unit 2.46</c:v>
                </c:pt>
              </c:strCache>
            </c:strRef>
          </c:cat>
          <c:val>
            <c:numRef>
              <c:f>Sheet1!$E$2:$E$7</c:f>
              <c:numCache>
                <c:formatCode>General</c:formatCode>
                <c:ptCount val="6"/>
                <c:pt idx="0">
                  <c:v>0.12325522975096254</c:v>
                </c:pt>
                <c:pt idx="1">
                  <c:v>0.12083459504376659</c:v>
                </c:pt>
                <c:pt idx="2">
                  <c:v>0.11770012515091043</c:v>
                </c:pt>
                <c:pt idx="3">
                  <c:v>0.11570379039570508</c:v>
                </c:pt>
                <c:pt idx="4">
                  <c:v>0.12049303659636446</c:v>
                </c:pt>
                <c:pt idx="5">
                  <c:v>0.12833866590048795</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0899A20-EA59-48B9-98D7-2591D1B54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AC3FBCA-6C6A-4799-8A4A-A10EBEC2A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051EAD2-0432-4BD1-AB80-B83C98D30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9A9F7789-3904-4EFB-AB5E-430EAEB58C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4DEFDDB-67BE-4369-A7F7-0F0914C57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0EA2B14-C881-47DF-8B5A-16B22224E8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AA3816C-B034-432E-8B95-746171CE4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D79E49F3-07C5-4D6C-A1A3-B6ADFA417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C8FEBC9D-B7D8-4710-8886-2D9C6E67E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F08C5847-BDC1-4B82-B8CD-25861ACEC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C64AFA80-A72E-44D1-9311-8DA33285C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FED70ED5-478C-4656-8353-50F43E8E7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68FADA23-E082-45D6-A515-B2E42A3A5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A945BD76-B6EE-4E8F-9730-BCD770642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C6FA308C-BFEC-448F-9CD8-7B6EA091F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D6FA6A14-761A-4B13-AB56-9B3DD6055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B820F8D3-6219-4410-8825-458B13CAA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4CF5FCA0-D057-41A6-9E0D-1D716B857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3742E48-9C39-4709-845F-9A7742076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3CC9B7C2-EEA6-4003-89C6-12C262683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50BC70EE-D2D5-49D3-ABA9-396D54281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42B3A3DD-A930-46AB-8B35-C6612A50E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2C78E6F7-D144-4F15-971C-65A1FDBC9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AD79C6B-FD3E-48F3-8D81-6B497E616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730D9ABB-B7A9-41D6-8EA9-3F4161E15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CAE586A0-54BA-436D-A3E0-4C4D723FD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A59CD51F-1A6F-42F6-A4A7-80EB27A84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F9C497DB-2F92-4F63-A1F2-55B770FC9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8177EE3D-009A-44D6-87D1-81E1034FE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F4CB0DA8-8AE6-46DE-BFF9-A32E5612F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D882A032-9E5B-42B3-B622-48F0E24DF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0511B0F-B42E-4F85-8324-400949DA25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4921008B-E8FC-4124-A83D-C585D745D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4008B3EE-A431-4958-AE82-413383DC0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8663B368-C9F8-466B-8568-E690DD120A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BC45DA06-B144-4889-B766-9305D7B25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2D92FBC5-4320-4B74-8B29-A73B12672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FC04FFC4-7048-40DE-94CB-CFD8C54FC6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B9C91B70-955C-41F0-AB1F-F3F12EB44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74F3A348-33EA-4C6D-8921-EDAE3111E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6EE1FC43-725D-4427-952F-14CC204D8D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F79257F9-4C1A-47FA-9047-9DF4B5AF4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655B1B7-B37A-4BA0-A4BA-FA0B17BA3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6CDE4F0D-10EE-4E34-8859-66C0B8E55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826119E-A61B-4193-A7A4-586411292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671CA40B-BD22-49CA-BD7D-D632B5273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1148DB59-65BD-4E35-8BCE-6B151C99A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EE5AC9AB-6CC7-4862-B5B6-3B3EECECD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6CA5BF90-AA34-4643-AABD-6AB617B59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F075C1DC-1C94-4E42-8419-B560EDFD8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0344242B-924F-46AD-A70A-1B25BE7B0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410ECD44-4E3E-4132-84C1-34EF8CA83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FF85796A-E11D-4FAC-90CA-78C24301F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6C5B9801-4EE0-4F0F-8DF3-65ACABC3A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6868604F-D19A-4193-AC4F-B2D391597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3AC22BE8-C53F-48B0-B1AB-C434AD0A5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9FBBA747-7262-4880-A7AB-87C8C9DA4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0429999999999999</c:v>
                </c:pt>
                <c:pt idx="1">
                  <c:v>0.40560000000000002</c:v>
                </c:pt>
                <c:pt idx="2">
                  <c:v>0.43690000000000001</c:v>
                </c:pt>
                <c:pt idx="3">
                  <c:v>0.2555</c:v>
                </c:pt>
                <c:pt idx="4">
                  <c:v>0.42380000000000001</c:v>
                </c:pt>
              </c:numCache>
            </c:numRef>
          </c:xVal>
          <c:yVal>
            <c:numRef>
              <c:f>Sheet1!$B$2:$B$6</c:f>
              <c:numCache>
                <c:formatCode>General</c:formatCode>
                <c:ptCount val="5"/>
                <c:pt idx="0">
                  <c:v>0.26950000000000002</c:v>
                </c:pt>
                <c:pt idx="1">
                  <c:v>0.18890000000000001</c:v>
                </c:pt>
                <c:pt idx="2">
                  <c:v>0.2384</c:v>
                </c:pt>
                <c:pt idx="3">
                  <c:v>0.34350000000000003</c:v>
                </c:pt>
                <c:pt idx="4">
                  <c:v>0.17460000000000001</c:v>
                </c:pt>
              </c:numCache>
            </c:numRef>
          </c:yVal>
          <c:bubbleSize>
            <c:numRef>
              <c:f>Sheet1!$C$2:$C$6</c:f>
              <c:numCache>
                <c:formatCode>General</c:formatCode>
                <c:ptCount val="5"/>
                <c:pt idx="0">
                  <c:v>22494.2546583851</c:v>
                </c:pt>
                <c:pt idx="1">
                  <c:v>7525.8762886597942</c:v>
                </c:pt>
                <c:pt idx="2">
                  <c:v>14703.46871569703</c:v>
                </c:pt>
                <c:pt idx="3">
                  <c:v>775.14666666666665</c:v>
                </c:pt>
                <c:pt idx="4">
                  <c:v>730.54462934947037</c:v>
                </c:pt>
              </c:numCache>
            </c:numRef>
          </c:bubbleSize>
          <c:bubble3D val="0"/>
          <c:extLst>
            <c:ext xmlns:c15="http://schemas.microsoft.com/office/drawing/2012/chart" uri="{02D57815-91ED-43cb-92C2-25804820EDAC}">
              <c15:datalabelsRange>
                <c15:f>Sheet1!$E$2:$E$58</c15:f>
                <c15:dlblRangeCache>
                  <c:ptCount val="57"/>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el Boursin Aperitif Roules Aperitif Aperitif 1 Ct X 10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4BEAD30-26B2-4256-835A-F40D53E53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7ADDE2B-497D-4292-B892-87BC1020A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57DAE07-1AE8-4F17-AE33-B7B6083C9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6889AAC-43A4-490B-861F-3541D3879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B2F3CC0-A970-41E1-B424-BCDCF7230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97973F3-44A6-4CD5-88C0-F208AA5C7F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0C676F01-A613-4336-8683-E08A33EA8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0FDFD41-9BC8-4E52-9F81-132CA6850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E5349569-2E05-4481-9FDB-25E8AE4C6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D7C5594-8311-44C2-9648-C3074C1AEE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3F1C13C-0BAA-430E-A538-331ACC5D7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882A752-5D0C-41C8-889D-5C7AAAB58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7733F18-7B47-4175-B9BF-64ECD4D82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AC1B000-AB48-43CF-89A2-77DC21D507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7006FE85-7779-4887-8562-B64E89AF6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A660A774-78D2-4BEE-9C89-89F816EFF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288EAE1-32FB-4E0B-A348-30B68A9E8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920664C-F4BF-4E1D-B3CF-3650CD0F3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ED10D35-6A2D-425E-9F45-0863C958A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30777D0-D499-4383-BD24-F50F2ABCC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CF591D4B-2B19-4A08-BB61-13B40CAC47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15EADC3-E17B-4078-8C9E-399EFD0FC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0D6D594-98C4-4096-B7E0-D776D55B5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38138731-03D9-4362-AC81-CFDE431E6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CFD9738D-AAC5-434F-A956-FB6352D3D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2AA5BA5-CDE4-494F-886A-FAF47746F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0DF1FAD-6F10-40A0-AAD8-478AE3031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AEFA0DA-FD37-4F82-9208-4FD63EE93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D7986A85-1AF6-4B37-A1B7-0600D828E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0D3BCEF-5E97-4F85-B273-7FBF4134B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4847401-8ACC-4175-A342-12C5E8913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4809EC4C-0EFA-4817-9FFC-DC669AB33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5A9C6999-4529-47D0-8F51-4590A6412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59D670D-5460-4E2F-831F-54F3D505A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96E3666-81DB-4E5A-B655-5C0972975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B8C87FF-B250-4AAA-9C4E-985DD5F1D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828A45C-B56E-4B96-A9A3-89506EB36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57685950-9933-4A2A-A4B9-974064321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DCFB8A22-45B7-4BBE-ACC4-59E2B3726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7D0A1169-F839-4634-8C24-AC949253B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F3B59B2-490C-4A89-BF79-44487D48F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D5D57958-42B3-42D4-B298-9DE9BA1B9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33D65BA-7350-460E-A017-04485B50A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AAE6E8D2-35A9-44EE-9F35-AB354DD63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EBA79938-04BD-4CF7-B386-087590F73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19DE267D-7DF6-49EC-88A1-3D09D53DF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311678E-E35D-49CB-9277-D2A36AB3D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64B45BA1-1F88-489A-899A-63F83693D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85B90B86-5EFD-4C27-97E9-DF6173C2B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8DAEFC33-6926-4F89-A554-ABADF9410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903E3C43-D318-45F4-8595-A0BA8D6D1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73100B8E-924F-4B53-B041-C83FFF4DB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BA52BB8F-23A8-49A9-8C10-18A841621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AA04C64-B4DA-45BD-AE80-C71675DC0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92D19D81-E0DA-44F1-94EF-80ADC0BF8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DB62055E-C48F-4201-AFD5-4C2CE1220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F5EFFFF0-355D-4C77-A483-E05F32012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3</c:f>
              <c:numCache>
                <c:formatCode>General</c:formatCode>
                <c:ptCount val="42"/>
                <c:pt idx="0">
                  <c:v>0.35720000000000002</c:v>
                </c:pt>
                <c:pt idx="1">
                  <c:v>0.55130000000000001</c:v>
                </c:pt>
                <c:pt idx="2">
                  <c:v>0.36149999999999999</c:v>
                </c:pt>
                <c:pt idx="3">
                  <c:v>0.53720000000000001</c:v>
                </c:pt>
                <c:pt idx="4">
                  <c:v>0.40649999999999997</c:v>
                </c:pt>
                <c:pt idx="5">
                  <c:v>0.42870000000000003</c:v>
                </c:pt>
                <c:pt idx="6">
                  <c:v>0.34849999999999998</c:v>
                </c:pt>
                <c:pt idx="7">
                  <c:v>0.32590000000000002</c:v>
                </c:pt>
                <c:pt idx="8">
                  <c:v>0.3977</c:v>
                </c:pt>
                <c:pt idx="9">
                  <c:v>0.24640000000000001</c:v>
                </c:pt>
                <c:pt idx="10">
                  <c:v>0.35820000000000002</c:v>
                </c:pt>
                <c:pt idx="11">
                  <c:v>0.32750000000000001</c:v>
                </c:pt>
                <c:pt idx="12">
                  <c:v>0.43259999999999998</c:v>
                </c:pt>
                <c:pt idx="13">
                  <c:v>0.4577</c:v>
                </c:pt>
                <c:pt idx="14">
                  <c:v>0.49909999999999999</c:v>
                </c:pt>
                <c:pt idx="15">
                  <c:v>0.36840000000000001</c:v>
                </c:pt>
                <c:pt idx="16">
                  <c:v>0.3639</c:v>
                </c:pt>
                <c:pt idx="17">
                  <c:v>0.42409999999999998</c:v>
                </c:pt>
                <c:pt idx="18">
                  <c:v>0.49440000000000001</c:v>
                </c:pt>
                <c:pt idx="19">
                  <c:v>0.27950000000000003</c:v>
                </c:pt>
                <c:pt idx="20">
                  <c:v>0.34939999999999999</c:v>
                </c:pt>
                <c:pt idx="21">
                  <c:v>0.47739999999999999</c:v>
                </c:pt>
                <c:pt idx="22">
                  <c:v>0.43070000000000003</c:v>
                </c:pt>
                <c:pt idx="23">
                  <c:v>0.43430000000000002</c:v>
                </c:pt>
                <c:pt idx="24">
                  <c:v>0.38550000000000001</c:v>
                </c:pt>
                <c:pt idx="25">
                  <c:v>0.36380000000000001</c:v>
                </c:pt>
                <c:pt idx="26">
                  <c:v>0.42049999999999998</c:v>
                </c:pt>
                <c:pt idx="27">
                  <c:v>0.4869</c:v>
                </c:pt>
                <c:pt idx="28">
                  <c:v>0.40110000000000001</c:v>
                </c:pt>
                <c:pt idx="29">
                  <c:v>0.39090000000000003</c:v>
                </c:pt>
                <c:pt idx="30">
                  <c:v>0.4027</c:v>
                </c:pt>
                <c:pt idx="31">
                  <c:v>0.40429999999999999</c:v>
                </c:pt>
                <c:pt idx="32">
                  <c:v>0.40560000000000002</c:v>
                </c:pt>
                <c:pt idx="33">
                  <c:v>0.38950000000000001</c:v>
                </c:pt>
                <c:pt idx="34">
                  <c:v>0.49390000000000001</c:v>
                </c:pt>
                <c:pt idx="35">
                  <c:v>0.436</c:v>
                </c:pt>
                <c:pt idx="36">
                  <c:v>0.43690000000000001</c:v>
                </c:pt>
                <c:pt idx="37">
                  <c:v>0.37330000000000002</c:v>
                </c:pt>
                <c:pt idx="38">
                  <c:v>0.4899</c:v>
                </c:pt>
                <c:pt idx="39">
                  <c:v>0.2555</c:v>
                </c:pt>
                <c:pt idx="40">
                  <c:v>0.47799999999999998</c:v>
                </c:pt>
                <c:pt idx="41">
                  <c:v>0.42380000000000001</c:v>
                </c:pt>
              </c:numCache>
            </c:numRef>
          </c:xVal>
          <c:yVal>
            <c:numRef>
              <c:f>Sheet1!$B$2:$B$43</c:f>
              <c:numCache>
                <c:formatCode>General</c:formatCode>
                <c:ptCount val="42"/>
                <c:pt idx="0">
                  <c:v>0.28370000000000001</c:v>
                </c:pt>
                <c:pt idx="1">
                  <c:v>0.26960000000000001</c:v>
                </c:pt>
                <c:pt idx="2">
                  <c:v>0.3201</c:v>
                </c:pt>
                <c:pt idx="3">
                  <c:v>-2.98E-2</c:v>
                </c:pt>
                <c:pt idx="4">
                  <c:v>0.30370000000000003</c:v>
                </c:pt>
                <c:pt idx="5">
                  <c:v>0.30099999999999999</c:v>
                </c:pt>
                <c:pt idx="6">
                  <c:v>0.35210000000000002</c:v>
                </c:pt>
                <c:pt idx="7">
                  <c:v>0.42880000000000001</c:v>
                </c:pt>
                <c:pt idx="8">
                  <c:v>0.39810000000000001</c:v>
                </c:pt>
                <c:pt idx="9">
                  <c:v>0.17280000000000001</c:v>
                </c:pt>
                <c:pt idx="10">
                  <c:v>0.31580000000000003</c:v>
                </c:pt>
                <c:pt idx="11">
                  <c:v>0.26429999999999998</c:v>
                </c:pt>
                <c:pt idx="12">
                  <c:v>0.3831</c:v>
                </c:pt>
                <c:pt idx="13">
                  <c:v>0.3745</c:v>
                </c:pt>
                <c:pt idx="14">
                  <c:v>0.26479999999999998</c:v>
                </c:pt>
                <c:pt idx="15">
                  <c:v>0.42459999999999998</c:v>
                </c:pt>
                <c:pt idx="16">
                  <c:v>0.41860000000000003</c:v>
                </c:pt>
                <c:pt idx="17">
                  <c:v>0.40150000000000002</c:v>
                </c:pt>
                <c:pt idx="18">
                  <c:v>0.34839999999999999</c:v>
                </c:pt>
                <c:pt idx="19">
                  <c:v>0.21079999999999999</c:v>
                </c:pt>
                <c:pt idx="20">
                  <c:v>0.48120000000000002</c:v>
                </c:pt>
                <c:pt idx="21">
                  <c:v>0.33500000000000002</c:v>
                </c:pt>
                <c:pt idx="22">
                  <c:v>0.23860000000000001</c:v>
                </c:pt>
                <c:pt idx="23">
                  <c:v>0.31180000000000002</c:v>
                </c:pt>
                <c:pt idx="24">
                  <c:v>0.30990000000000001</c:v>
                </c:pt>
                <c:pt idx="25">
                  <c:v>0.35339999999999999</c:v>
                </c:pt>
                <c:pt idx="26">
                  <c:v>0.27829999999999999</c:v>
                </c:pt>
                <c:pt idx="27">
                  <c:v>0.1988</c:v>
                </c:pt>
                <c:pt idx="28">
                  <c:v>0.36820000000000003</c:v>
                </c:pt>
                <c:pt idx="29">
                  <c:v>0.34860000000000002</c:v>
                </c:pt>
                <c:pt idx="30">
                  <c:v>0.35220000000000001</c:v>
                </c:pt>
                <c:pt idx="31">
                  <c:v>0.26950000000000002</c:v>
                </c:pt>
                <c:pt idx="32">
                  <c:v>0.18890000000000001</c:v>
                </c:pt>
                <c:pt idx="33">
                  <c:v>0.1007</c:v>
                </c:pt>
                <c:pt idx="34">
                  <c:v>0.38869999999999999</c:v>
                </c:pt>
                <c:pt idx="35">
                  <c:v>0.25869999999999999</c:v>
                </c:pt>
                <c:pt idx="36">
                  <c:v>0.2384</c:v>
                </c:pt>
                <c:pt idx="37">
                  <c:v>0.22420000000000001</c:v>
                </c:pt>
                <c:pt idx="38">
                  <c:v>0.2535</c:v>
                </c:pt>
                <c:pt idx="39">
                  <c:v>0.34350000000000003</c:v>
                </c:pt>
                <c:pt idx="40">
                  <c:v>0.26779999999999998</c:v>
                </c:pt>
                <c:pt idx="41">
                  <c:v>0.17460000000000001</c:v>
                </c:pt>
              </c:numCache>
            </c:numRef>
          </c:yVal>
          <c:bubbleSize>
            <c:numRef>
              <c:f>Sheet1!$C$2:$C$43</c:f>
              <c:numCache>
                <c:formatCode>General</c:formatCode>
                <c:ptCount val="42"/>
                <c:pt idx="0">
                  <c:v>27527.410805300711</c:v>
                </c:pt>
                <c:pt idx="1">
                  <c:v>6740.5301914580259</c:v>
                </c:pt>
                <c:pt idx="2">
                  <c:v>24558.51703406814</c:v>
                </c:pt>
                <c:pt idx="3">
                  <c:v>648.25327510917032</c:v>
                </c:pt>
                <c:pt idx="4">
                  <c:v>10309.23469387755</c:v>
                </c:pt>
                <c:pt idx="5">
                  <c:v>8635.1798561151081</c:v>
                </c:pt>
                <c:pt idx="6">
                  <c:v>43360.813008130077</c:v>
                </c:pt>
                <c:pt idx="7">
                  <c:v>45724.892307692309</c:v>
                </c:pt>
                <c:pt idx="8">
                  <c:v>61730.220440881763</c:v>
                </c:pt>
                <c:pt idx="9">
                  <c:v>1325.194805194805</c:v>
                </c:pt>
                <c:pt idx="10">
                  <c:v>52226.907545164722</c:v>
                </c:pt>
                <c:pt idx="11">
                  <c:v>79341.235480464631</c:v>
                </c:pt>
                <c:pt idx="12">
                  <c:v>10304.161712247331</c:v>
                </c:pt>
                <c:pt idx="13">
                  <c:v>6139.8327359617679</c:v>
                </c:pt>
                <c:pt idx="14">
                  <c:v>481.37096774193537</c:v>
                </c:pt>
                <c:pt idx="15">
                  <c:v>20585.647298674819</c:v>
                </c:pt>
                <c:pt idx="16">
                  <c:v>27675.493562231761</c:v>
                </c:pt>
                <c:pt idx="17">
                  <c:v>14262.722513089009</c:v>
                </c:pt>
                <c:pt idx="18">
                  <c:v>14741.66273584906</c:v>
                </c:pt>
                <c:pt idx="19">
                  <c:v>3357.0257037943702</c:v>
                </c:pt>
                <c:pt idx="20">
                  <c:v>25786.988809766019</c:v>
                </c:pt>
                <c:pt idx="21">
                  <c:v>7090.9286898839136</c:v>
                </c:pt>
                <c:pt idx="22">
                  <c:v>3027.5083798882679</c:v>
                </c:pt>
                <c:pt idx="23">
                  <c:v>11293.564049586779</c:v>
                </c:pt>
                <c:pt idx="24">
                  <c:v>2199.2426035502958</c:v>
                </c:pt>
                <c:pt idx="25">
                  <c:v>1098.2067247820671</c:v>
                </c:pt>
                <c:pt idx="26">
                  <c:v>3335.8687727825031</c:v>
                </c:pt>
                <c:pt idx="27">
                  <c:v>1614.075757575758</c:v>
                </c:pt>
                <c:pt idx="28">
                  <c:v>2730.8923076923079</c:v>
                </c:pt>
                <c:pt idx="29">
                  <c:v>7229.1382978723404</c:v>
                </c:pt>
                <c:pt idx="30">
                  <c:v>11438.093716719921</c:v>
                </c:pt>
                <c:pt idx="31">
                  <c:v>22494.2546583851</c:v>
                </c:pt>
                <c:pt idx="32">
                  <c:v>7525.8762886597942</c:v>
                </c:pt>
                <c:pt idx="33">
                  <c:v>8505.5930232558148</c:v>
                </c:pt>
                <c:pt idx="34">
                  <c:v>5504.0773809523807</c:v>
                </c:pt>
                <c:pt idx="35">
                  <c:v>5809.3564356435636</c:v>
                </c:pt>
                <c:pt idx="36">
                  <c:v>14703.46871569703</c:v>
                </c:pt>
                <c:pt idx="37">
                  <c:v>27838.234693877552</c:v>
                </c:pt>
                <c:pt idx="38">
                  <c:v>12471.15303983229</c:v>
                </c:pt>
                <c:pt idx="39">
                  <c:v>775.14666666666665</c:v>
                </c:pt>
                <c:pt idx="40">
                  <c:v>1111.304347826087</c:v>
                </c:pt>
                <c:pt idx="41">
                  <c:v>730.54462934947037</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La Vache Qui Rit Aro Fromage Fondu Boite Ronde Jambon 1X133Gr 8P</c:v>
                  </c:pt>
                  <c:pt idx="2">
                    <c:v>Boursin Classique Fromage Frais A Tartiner Afh Boite 1X150Gr 1P</c:v>
                  </c:pt>
                  <c:pt idx="3">
                    <c:v>Boursin Classique Fromage Frais A Tartiner Truffe Boite 1X150Gr 1P</c:v>
                  </c:pt>
                  <c:pt idx="4">
                    <c:v>Boursin Classique Fromage Frais A Tartiner Figue Et 3 Noix Boite 1X150Gr 1P</c:v>
                  </c:pt>
                  <c:pt idx="5">
                    <c:v>Boursin Classique Fromage Frais A Tartiner Ciboulette &amp; Echalote Boite 1X150Gr 1P</c:v>
                  </c:pt>
                  <c:pt idx="6">
                    <c:v>Kiri Creme Fromage Blanc Frais Carre 1X432Gr 24P</c:v>
                  </c:pt>
                  <c:pt idx="7">
                    <c:v>Kiri Creme Fromage Blanc Frais Carre 1X216Gr 12P</c:v>
                  </c:pt>
                  <c:pt idx="8">
                    <c:v>La Vache Qui Rit Nature Fromage Fondu Boite Ronde 1X192Gr 12P</c:v>
                  </c:pt>
                  <c:pt idx="9">
                    <c:v>La Vache Qui Rit Nature Fromage Fondu Boite Ronde 1X512Gr 24+8P</c:v>
                  </c:pt>
                  <c:pt idx="10">
                    <c:v>La Vache Qui Rit Nature Fromage Fondu Boite Ronde 1X384Gr 24P</c:v>
                  </c:pt>
                  <c:pt idx="11">
                    <c:v>La Vache Qui Rit Nature Fromage Fondu Boite Ronde 1X512Gr 32P</c:v>
                  </c:pt>
                  <c:pt idx="12">
                    <c:v>La Vache Qui Rit Allegee Fromage Fondu Boite Ronde Allege 1X267Gr 16P</c:v>
                  </c:pt>
                  <c:pt idx="13">
                    <c:v>Kiri Delicieusement Fouette Fromage Frais A Tartiner 1X125Gr 1P</c:v>
                  </c:pt>
                  <c:pt idx="14">
                    <c:v>Kiri Delicieusement Fouette Fromage Frais A Tartiner 1X210Gr 1P</c:v>
                  </c:pt>
                  <c:pt idx="15">
                    <c:v>Kiri Gouter Fromage Blanc Dips Boite 1X175Gr 5P</c:v>
                  </c:pt>
                  <c:pt idx="16">
                    <c:v>Kiri Gouter Fromage Blanc Dips Boite 1X280Gr 8P</c:v>
                  </c:pt>
                  <c:pt idx="17">
                    <c:v>La Vache Qui Rit Pik Et Croq' Fromage Fondu Dips Boite 1X175Gr 5P</c:v>
                  </c:pt>
                  <c:pt idx="18">
                    <c:v>La Vache Qui Rit Pik Et Croq' Fromage Fondu Dips Boite 1X280Gr 8P</c:v>
                  </c:pt>
                  <c:pt idx="19">
                    <c:v>Kiri Creme Fromage Blanc Frais Carre 1X432Gr 18+6P</c:v>
                  </c:pt>
                  <c:pt idx="20">
                    <c:v>Kiri Creme Fromage Blanc Frais Carre 1X144Gr 8P</c:v>
                  </c:pt>
                  <c:pt idx="21">
                    <c:v>Kiri Bio Fromage Blanc Frais Carre 1X144Gr 8P</c:v>
                  </c:pt>
                  <c:pt idx="22">
                    <c:v>Kiri Delicieusement Fouette Fromage Frais A Tartiner 1X160Gr 10P</c:v>
                  </c:pt>
                  <c:pt idx="23">
                    <c:v>Boursin Salade &amp; Aperitif Fromage Frais Des Afh 1X120Gr 1P</c:v>
                  </c:pt>
                  <c:pt idx="24">
                    <c:v>Boursin Salade &amp; Aperitif Fromage Frais Des Figue Noix 1X120Gr 1P</c:v>
                  </c:pt>
                  <c:pt idx="25">
                    <c:v>Boursin Salade &amp; Aperitif Fromage Frais Des Noisette Et 3 Noix 1X120Gr 1P</c:v>
                  </c:pt>
                  <c:pt idx="26">
                    <c:v>Boursin Salade &amp; Aperitif Fromage Frais Des Ciboulette Echalote 1X120Gr 1P</c:v>
                  </c:pt>
                  <c:pt idx="27">
                    <c:v>Boursin Salade &amp; Aperitif Fromage Frais Des Citron Romarin 1X120Gr 1P</c:v>
                  </c:pt>
                  <c:pt idx="28">
                    <c:v>Boursin Classique Fromage Frais A Tartiner Afh Boite 1X80Gr 1P</c:v>
                  </c:pt>
                  <c:pt idx="29">
                    <c:v>Boursin Classique Fromage Frais A Tartiner Poivre Boite 1X150Gr 1P</c:v>
                  </c:pt>
                  <c:pt idx="30">
                    <c:v>Boursin Classique Fromage Frais A Tartiner Afh Boite 1X96Gr 6P</c:v>
                  </c:pt>
                  <c:pt idx="31">
                    <c:v>Boursin Aperitif Roules Fromage Frais Roule Afh Et Jambon Fume Boite 1X100Gr 20P</c:v>
                  </c:pt>
                  <c:pt idx="32">
                    <c:v>Boursin Aperitif Roules Fromage Frais Roule Basilic &amp; Jambon Fume Tomate Boite 1X100Gr 20P</c:v>
                  </c:pt>
                  <c:pt idx="33">
                    <c:v>Boursin Classique Fromage Frais A Tartiner Afh 1X256Gr 16P</c:v>
                  </c:pt>
                  <c:pt idx="34">
                    <c:v>Kiri Chevre Fromage Blanc Frais Carre 1X144Gr 8P</c:v>
                  </c:pt>
                  <c:pt idx="35">
                    <c:v>Boursin Classique Fromage Frais A Tartiner Ciboulette &amp; Echalote 1X160Gr 10P</c:v>
                  </c:pt>
                  <c:pt idx="36">
                    <c:v>Boursin Aperitif Roules Fromage Frais Roule Ciboulette &amp; Echalote Jambon Fume Boite 1X100Gr 20P</c:v>
                  </c:pt>
                  <c:pt idx="37">
                    <c:v>Boursin Classique Fromage Frais A Tartiner Afh Boite 1X250Gr 1P</c:v>
                  </c:pt>
                  <c:pt idx="38">
                    <c:v>Boursin Onctueux Fromage Frais A Tartiner Afh 1X125Gr 1P</c:v>
                  </c:pt>
                  <c:pt idx="39">
                    <c:v>Boursin Aperitif Roules Fromage Frais Roule Jambon Fume &amp; Trio De Noix Boite 1X100Gr 20P</c:v>
                  </c:pt>
                  <c:pt idx="40">
                    <c:v>Bel Boursin Salade &amp; Aperitif Soft Cheese Salade 1 Ct X 120Gr</c:v>
                  </c:pt>
                  <c:pt idx="41">
                    <c:v>Bel Boursin Aperitif Roules Aperitif Aperitif 1 Ct X 10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D66F7DA2-E5B8-40E4-BD36-7BF802779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E5DAA3EE-8369-4190-AE70-85A7C4D61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CB7A0ED-8647-4632-8165-06A9F8961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EE11D848-1B82-45D9-9BF7-BF1915224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9A59E5BF-542E-4E72-BDAC-E68FE267B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E738A36-320E-4D96-B859-3F7A3A9933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66A4D53-5D84-492F-9268-137497F1A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991A2C3-5C0C-40A2-AA18-EA242E1F7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BF435B6-29B4-4957-A1E7-52FA2A003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6D5FF01-2496-474C-99E8-327935606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6EE26097-B7AA-4690-842A-08F2176BE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A3BF9E2-6652-4E69-A162-5FF6F05F1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FC617A0-8D7B-428E-B54B-AE12609F7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4A9025AA-02C3-44F1-9D5B-D33C39C08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BF65F39-F311-4065-968B-A3004776E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21E9225A-4F3E-4F8A-A232-6627B8DA8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98B56D1-F6AC-4638-A37E-DEFA61C08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D5B23008-EA2A-4114-BB63-8CD4F2EDE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B9B7E6E6-0694-45FC-BD50-36540547B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163B4F16-8031-4D4A-B63C-BE31FBA58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23ED3184-3D00-4259-98F7-BDF20F1E71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1C289A14-B1BD-43E4-9765-D16644C67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C93517BF-BD9F-42D1-85E1-E55083EAF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7D309420-207D-4C46-BF26-8F5783E4B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C1D85376-394C-46B6-A29A-B8C338C95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8D64F9A9-706E-4068-BCF5-72D16437A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EBA87BA3-3A72-4D79-A0B3-1C7304401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ECA6E646-0C2D-4D5D-9192-A60403FC6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4FC353B8-A5D9-44C8-B598-C606D9F56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786917E6-A92A-40A2-AABE-EF4DFE7AE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78E8A4C2-93A4-441C-937D-D76415108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8B251838-3635-49EA-B721-2144503B5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377DDBB9-1C24-4CBD-9A1B-288E3B6C5D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31AC9ADD-25AA-4071-B877-7559151406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12ADF1BC-F34F-4A50-9138-32B3C4BC85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C1B3C427-C4DC-451F-856C-44923E60A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B5FCF53D-821B-474C-9064-11D515630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E0630B6E-2C75-4D0F-BB98-2D5D5D05B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688F7FA8-CB65-4670-A29D-340E55522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927467E-AD6B-4B8B-B4CF-BE67107D9F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8DF29389-E823-44C6-A599-1C97BD394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F1604DF8-3C73-41E4-80B2-E55CAD9A7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C9B0E8C3-2DC4-4658-849A-F48C34048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C0D00BA9-7F4B-4FB1-88AF-02062531D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B3257BB2-B9B6-49C4-8A1B-707A4E858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480EF5F1-8F72-4812-A6BA-76924C532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7DE831AA-843C-4119-8B34-41D44B5E2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F8D3F26-56FF-40B7-AA10-B1CE70AF1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F8758CB5-870A-4D41-91BD-D0B7C53997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1C214749-3700-4002-805E-C0C841E3BD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E1BD3DC-4507-400F-878D-837805B26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8E7D3C51-0F1D-412E-A052-A59E0EA04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482D00D9-F772-403D-8024-D2F217CA6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572CA699-178B-4D44-A171-608860753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DEE23748-713C-4074-88D8-240F25CE1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D5FFDC9-A77A-43C6-8679-6D6450110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3F3B9016-75DA-444E-9EF7-00202191D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7</c:f>
              <c:numCache>
                <c:formatCode>General</c:formatCode>
                <c:ptCount val="16"/>
                <c:pt idx="0">
                  <c:v>0.55130000000000001</c:v>
                </c:pt>
                <c:pt idx="1">
                  <c:v>0.34849999999999998</c:v>
                </c:pt>
                <c:pt idx="2">
                  <c:v>0.32590000000000002</c:v>
                </c:pt>
                <c:pt idx="3">
                  <c:v>0.3977</c:v>
                </c:pt>
                <c:pt idx="4">
                  <c:v>0.24640000000000001</c:v>
                </c:pt>
                <c:pt idx="5">
                  <c:v>0.35820000000000002</c:v>
                </c:pt>
                <c:pt idx="6">
                  <c:v>0.32750000000000001</c:v>
                </c:pt>
                <c:pt idx="7">
                  <c:v>0.43259999999999998</c:v>
                </c:pt>
                <c:pt idx="8">
                  <c:v>0.36840000000000001</c:v>
                </c:pt>
                <c:pt idx="9">
                  <c:v>0.3639</c:v>
                </c:pt>
                <c:pt idx="10">
                  <c:v>0.42409999999999998</c:v>
                </c:pt>
                <c:pt idx="11">
                  <c:v>0.49440000000000001</c:v>
                </c:pt>
                <c:pt idx="12">
                  <c:v>0.27950000000000003</c:v>
                </c:pt>
                <c:pt idx="13">
                  <c:v>0.34939999999999999</c:v>
                </c:pt>
                <c:pt idx="14">
                  <c:v>0.47739999999999999</c:v>
                </c:pt>
                <c:pt idx="15">
                  <c:v>0.49390000000000001</c:v>
                </c:pt>
              </c:numCache>
            </c:numRef>
          </c:xVal>
          <c:yVal>
            <c:numRef>
              <c:f>Sheet1!$B$2:$B$17</c:f>
              <c:numCache>
                <c:formatCode>General</c:formatCode>
                <c:ptCount val="16"/>
                <c:pt idx="0">
                  <c:v>0.26960000000000001</c:v>
                </c:pt>
                <c:pt idx="1">
                  <c:v>0.35210000000000002</c:v>
                </c:pt>
                <c:pt idx="2">
                  <c:v>0.42880000000000001</c:v>
                </c:pt>
                <c:pt idx="3">
                  <c:v>0.39810000000000001</c:v>
                </c:pt>
                <c:pt idx="4">
                  <c:v>0.17280000000000001</c:v>
                </c:pt>
                <c:pt idx="5">
                  <c:v>0.31580000000000003</c:v>
                </c:pt>
                <c:pt idx="6">
                  <c:v>0.26429999999999998</c:v>
                </c:pt>
                <c:pt idx="7">
                  <c:v>0.3831</c:v>
                </c:pt>
                <c:pt idx="8">
                  <c:v>0.42459999999999998</c:v>
                </c:pt>
                <c:pt idx="9">
                  <c:v>0.41860000000000003</c:v>
                </c:pt>
                <c:pt idx="10">
                  <c:v>0.40150000000000002</c:v>
                </c:pt>
                <c:pt idx="11">
                  <c:v>0.34839999999999999</c:v>
                </c:pt>
                <c:pt idx="12">
                  <c:v>0.21079999999999999</c:v>
                </c:pt>
                <c:pt idx="13">
                  <c:v>0.48120000000000002</c:v>
                </c:pt>
                <c:pt idx="14">
                  <c:v>0.33500000000000002</c:v>
                </c:pt>
                <c:pt idx="15">
                  <c:v>0.38869999999999999</c:v>
                </c:pt>
              </c:numCache>
            </c:numRef>
          </c:yVal>
          <c:bubbleSize>
            <c:numRef>
              <c:f>Sheet1!$C$2:$C$17</c:f>
              <c:numCache>
                <c:formatCode>General</c:formatCode>
                <c:ptCount val="16"/>
                <c:pt idx="0">
                  <c:v>6740.5301914580259</c:v>
                </c:pt>
                <c:pt idx="1">
                  <c:v>43360.813008130077</c:v>
                </c:pt>
                <c:pt idx="2">
                  <c:v>45724.892307692309</c:v>
                </c:pt>
                <c:pt idx="3">
                  <c:v>61730.220440881763</c:v>
                </c:pt>
                <c:pt idx="4">
                  <c:v>1325.194805194805</c:v>
                </c:pt>
                <c:pt idx="5">
                  <c:v>52226.907545164722</c:v>
                </c:pt>
                <c:pt idx="6">
                  <c:v>79341.235480464631</c:v>
                </c:pt>
                <c:pt idx="7">
                  <c:v>10304.161712247331</c:v>
                </c:pt>
                <c:pt idx="8">
                  <c:v>20585.647298674819</c:v>
                </c:pt>
                <c:pt idx="9">
                  <c:v>27675.493562231761</c:v>
                </c:pt>
                <c:pt idx="10">
                  <c:v>14262.722513089009</c:v>
                </c:pt>
                <c:pt idx="11">
                  <c:v>14741.66273584906</c:v>
                </c:pt>
                <c:pt idx="12">
                  <c:v>3357.0257037943702</c:v>
                </c:pt>
                <c:pt idx="13">
                  <c:v>25786.988809766019</c:v>
                </c:pt>
                <c:pt idx="14">
                  <c:v>7090.9286898839136</c:v>
                </c:pt>
                <c:pt idx="15">
                  <c:v>5504.0773809523807</c:v>
                </c:pt>
              </c:numCache>
            </c:numRef>
          </c:bubbleSize>
          <c:bubble3D val="0"/>
          <c:extLst>
            <c:ext xmlns:c15="http://schemas.microsoft.com/office/drawing/2012/chart" uri="{02D57815-91ED-43cb-92C2-25804820EDAC}">
              <c15:datalabelsRange>
                <c15:f>Sheet1!$E$2:$E$58</c15:f>
                <c15:dlblRangeCache>
                  <c:ptCount val="57"/>
                  <c:pt idx="0">
                    <c:v>La Vache Qui Rit Aro Fromage Fondu Boite Ronde Jambon 1X133Gr 8P</c:v>
                  </c:pt>
                  <c:pt idx="1">
                    <c:v>Kiri Creme Fromage Blanc Frais Carre 1X432Gr 24P</c:v>
                  </c:pt>
                  <c:pt idx="2">
                    <c:v>Kiri Creme Fromage Blanc Frais Carre 1X216Gr 12P</c:v>
                  </c:pt>
                  <c:pt idx="3">
                    <c:v>La Vache Qui Rit Nature Fromage Fondu Boite Ronde 1X192Gr 12P</c:v>
                  </c:pt>
                  <c:pt idx="4">
                    <c:v>La Vache Qui Rit Nature Fromage Fondu Boite Ronde 1X512Gr 24+8P</c:v>
                  </c:pt>
                  <c:pt idx="5">
                    <c:v>La Vache Qui Rit Nature Fromage Fondu Boite Ronde 1X384Gr 24P</c:v>
                  </c:pt>
                  <c:pt idx="6">
                    <c:v>La Vache Qui Rit Nature Fromage Fondu Boite Ronde 1X512Gr 32P</c:v>
                  </c:pt>
                  <c:pt idx="7">
                    <c:v>La Vache Qui Rit Allegee Fromage Fondu Boite Ronde Allege 1X267Gr 16P</c:v>
                  </c:pt>
                  <c:pt idx="8">
                    <c:v>Kiri Gouter Fromage Blanc Dips Boite 1X175Gr 5P</c:v>
                  </c:pt>
                  <c:pt idx="9">
                    <c:v>Kiri Gouter Fromage Blanc Dips Boite 1X280Gr 8P</c:v>
                  </c:pt>
                  <c:pt idx="10">
                    <c:v>La Vache Qui Rit Pik Et Croq' Fromage Fondu Dips Boite 1X175Gr 5P</c:v>
                  </c:pt>
                  <c:pt idx="11">
                    <c:v>La Vache Qui Rit Pik Et Croq' Fromage Fondu Dips Boite 1X280Gr 8P</c:v>
                  </c:pt>
                  <c:pt idx="12">
                    <c:v>Kiri Creme Fromage Blanc Frais Carre 1X432Gr 18+6P</c:v>
                  </c:pt>
                  <c:pt idx="13">
                    <c:v>Kiri Creme Fromage Blanc Frais Carre 1X144Gr 8P</c:v>
                  </c:pt>
                  <c:pt idx="14">
                    <c:v>Kiri Bio Fromage Blanc Frais Carre 1X144Gr 8P</c:v>
                  </c:pt>
                  <c:pt idx="15">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0DAB4C79-6F51-41B4-BE2A-24DACCEF4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53AD562-13F3-4A3F-9449-65C0392C4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5686E42-E11C-4DE7-985A-B8D0FD19F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DEA7CF2-E390-4165-8831-1EBEDC9E3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11ABB15-7087-42D2-B040-54A0E95E7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6866C71-22D9-4E00-BE19-00C070A80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4F0C883-F434-40D5-A649-211227375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48437DE-FAA8-43BF-A8FC-B6E4C3B7D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ECB19B2-4DE3-4561-BED4-08F43AFA3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A7FB6A3-E53B-4E84-8670-384821844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CBB8FA3-A239-4D59-BA52-2013F4D57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BA55E5E-CA21-48DE-9FE2-A8277671CF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6477468A-5980-4A85-8AF8-B1E159602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F71462E-4206-44A1-8F36-C5224AC1C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B764AF08-F481-47B9-9299-0C35217BC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C2974B0-A9BF-4344-B7B0-CD0A683C4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A15D6805-D1FB-4DAC-A472-68893F47C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268D64DA-19CE-4A80-8CF7-ED37D46AE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279D93E-80ED-4356-BDE0-27F68678E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6B77DA81-2C45-4139-BD79-32E469117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C86CA9DF-BC26-4A2E-886E-D031DE0A0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7BABB7CE-7328-4253-B839-0B3453025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6D758D53-531C-45A6-A6F9-EA0BF1EE0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C9447F9A-8D30-44C9-B2FE-6E5B3D9A5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38A657AC-9B09-42B7-AA27-BF9947C5B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0D375A7C-6312-41A6-B5CA-9D4A358E5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4BDD8DDC-F26E-4A8D-BB9E-10FF93D63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2D0FEED9-1C17-4984-BC12-424D54F94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829B68DA-21B7-4E64-AEE2-427152E0D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7145E775-B0B0-466C-867B-13D5268D7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4DF8583A-688D-4914-8E90-1F1A82C7E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2E06A7E5-185A-4DCB-83EE-1FFC60F77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8B5CBC88-19B8-4C63-BF02-5A9ED4B50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43D4B34B-3EE6-437C-8280-D3A254FC2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695706C-5CF2-4E2E-858E-A772352CC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86713B56-920D-42E1-98ED-FBD5485B9F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3CFD6A6E-AF72-429D-92C4-D72943A53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A1B72F9B-1D21-4AD3-94E1-56E079196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A1850D69-37A4-4BA1-A67F-773BF5C2A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5183C9B0-DF2D-49E6-9C6E-EEEB6627F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FB23A6EE-F9BF-4EDA-B35B-05F569970F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8D753063-58FD-498F-82CA-01F20D862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34F0D45D-BDE6-4423-84A3-5123E39AF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592ABE1A-74EE-4D11-BC4F-F884AEC40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3F33F6DE-6D25-432E-82D1-E87AA9B9A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AADACBAF-4B51-4D78-B6BB-079F9401C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B09076E-0E53-4520-AD2C-2C35869A1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3BD09C51-2BC4-4019-BAE3-7A6F85CEE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E729958F-9663-495D-8574-9FEC0324F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0FE99661-F358-4EF5-9383-519D2F9D64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04ACF6D-12F0-4290-89AC-DAA827700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85767785-A6E0-4F3D-90AD-53B3653FC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28599CCF-D891-423E-9E6D-050D8093A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AD30B413-8089-49E9-AE06-365CDBD9B4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4CEE30C6-BA1E-4E58-B074-7162E91EA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C04945AD-598E-4899-BF6B-8966CCF91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DBC19C63-ACC8-472D-A866-5BC5E2386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0</c:f>
              <c:numCache>
                <c:formatCode>General</c:formatCode>
                <c:ptCount val="19"/>
                <c:pt idx="0">
                  <c:v>0.43109999999999998</c:v>
                </c:pt>
                <c:pt idx="1">
                  <c:v>0.37940000000000002</c:v>
                </c:pt>
                <c:pt idx="2">
                  <c:v>0.3014</c:v>
                </c:pt>
                <c:pt idx="3">
                  <c:v>0.41099999999999998</c:v>
                </c:pt>
                <c:pt idx="4">
                  <c:v>0.40870000000000001</c:v>
                </c:pt>
                <c:pt idx="5">
                  <c:v>0.25490000000000002</c:v>
                </c:pt>
                <c:pt idx="6">
                  <c:v>0.3306</c:v>
                </c:pt>
                <c:pt idx="7">
                  <c:v>0.3155</c:v>
                </c:pt>
                <c:pt idx="8">
                  <c:v>0.37190000000000001</c:v>
                </c:pt>
                <c:pt idx="9">
                  <c:v>0.41449999999999998</c:v>
                </c:pt>
                <c:pt idx="10">
                  <c:v>0.56910000000000005</c:v>
                </c:pt>
                <c:pt idx="11">
                  <c:v>0.48430000000000001</c:v>
                </c:pt>
                <c:pt idx="12">
                  <c:v>0.39889999999999998</c:v>
                </c:pt>
                <c:pt idx="13">
                  <c:v>0.33850000000000002</c:v>
                </c:pt>
                <c:pt idx="14">
                  <c:v>0.36270000000000002</c:v>
                </c:pt>
                <c:pt idx="15">
                  <c:v>0.33939999999999998</c:v>
                </c:pt>
                <c:pt idx="16">
                  <c:v>0.2631</c:v>
                </c:pt>
                <c:pt idx="17">
                  <c:v>0.35049999999999998</c:v>
                </c:pt>
                <c:pt idx="18">
                  <c:v>0.35210000000000002</c:v>
                </c:pt>
              </c:numCache>
            </c:numRef>
          </c:xVal>
          <c:yVal>
            <c:numRef>
              <c:f>Sheet1!$B$2:$B$20</c:f>
              <c:numCache>
                <c:formatCode>General</c:formatCode>
                <c:ptCount val="19"/>
                <c:pt idx="0">
                  <c:v>0.39789999999999998</c:v>
                </c:pt>
                <c:pt idx="1">
                  <c:v>0.1764</c:v>
                </c:pt>
                <c:pt idx="2">
                  <c:v>0.45519999999999999</c:v>
                </c:pt>
                <c:pt idx="3">
                  <c:v>0.44550000000000001</c:v>
                </c:pt>
                <c:pt idx="4">
                  <c:v>0.438</c:v>
                </c:pt>
                <c:pt idx="5">
                  <c:v>0.1852</c:v>
                </c:pt>
                <c:pt idx="6">
                  <c:v>0.30149999999999999</c:v>
                </c:pt>
                <c:pt idx="7">
                  <c:v>0.14399999999999999</c:v>
                </c:pt>
                <c:pt idx="8">
                  <c:v>0.4461</c:v>
                </c:pt>
                <c:pt idx="9">
                  <c:v>0.49409999999999998</c:v>
                </c:pt>
                <c:pt idx="10">
                  <c:v>0.70169999999999999</c:v>
                </c:pt>
                <c:pt idx="11">
                  <c:v>0.12820000000000001</c:v>
                </c:pt>
                <c:pt idx="12">
                  <c:v>0.37559999999999999</c:v>
                </c:pt>
                <c:pt idx="13">
                  <c:v>0.43509999999999999</c:v>
                </c:pt>
                <c:pt idx="14">
                  <c:v>0.43030000000000002</c:v>
                </c:pt>
                <c:pt idx="15">
                  <c:v>0.46029999999999999</c:v>
                </c:pt>
                <c:pt idx="16">
                  <c:v>0.21809999999999999</c:v>
                </c:pt>
                <c:pt idx="17">
                  <c:v>0.499</c:v>
                </c:pt>
                <c:pt idx="18">
                  <c:v>0.39939999999999998</c:v>
                </c:pt>
              </c:numCache>
            </c:numRef>
          </c:yVal>
          <c:bubbleSize>
            <c:numRef>
              <c:f>Sheet1!$C$2:$C$20</c:f>
              <c:numCache>
                <c:formatCode>General</c:formatCode>
                <c:ptCount val="19"/>
                <c:pt idx="0">
                  <c:v>8120.5405405405409</c:v>
                </c:pt>
                <c:pt idx="1">
                  <c:v>81394.755784061694</c:v>
                </c:pt>
                <c:pt idx="2">
                  <c:v>42862.613908872903</c:v>
                </c:pt>
                <c:pt idx="3">
                  <c:v>64775.474006116208</c:v>
                </c:pt>
                <c:pt idx="4">
                  <c:v>0</c:v>
                </c:pt>
                <c:pt idx="5">
                  <c:v>19364.593103448271</c:v>
                </c:pt>
                <c:pt idx="6">
                  <c:v>72823.240534521159</c:v>
                </c:pt>
                <c:pt idx="7">
                  <c:v>143117.4607013301</c:v>
                </c:pt>
                <c:pt idx="8">
                  <c:v>7373.9595959595963</c:v>
                </c:pt>
                <c:pt idx="9">
                  <c:v>22077.01729106628</c:v>
                </c:pt>
                <c:pt idx="10">
                  <c:v>29388.75</c:v>
                </c:pt>
                <c:pt idx="11">
                  <c:v>3280.8506224066391</c:v>
                </c:pt>
                <c:pt idx="12">
                  <c:v>34465.816649104323</c:v>
                </c:pt>
                <c:pt idx="13">
                  <c:v>25172.049180327871</c:v>
                </c:pt>
                <c:pt idx="14">
                  <c:v>19583.832599118941</c:v>
                </c:pt>
                <c:pt idx="15">
                  <c:v>10205.71428571429</c:v>
                </c:pt>
                <c:pt idx="16">
                  <c:v>16379.70670391062</c:v>
                </c:pt>
                <c:pt idx="17">
                  <c:v>47708.959595959597</c:v>
                </c:pt>
                <c:pt idx="18">
                  <c:v>5967.6095617529882</c:v>
                </c:pt>
              </c:numCache>
            </c:numRef>
          </c:bubbleSize>
          <c:bubble3D val="0"/>
          <c:extLst>
            <c:ext xmlns:c15="http://schemas.microsoft.com/office/drawing/2012/chart" uri="{02D57815-91ED-43cb-92C2-25804820EDAC}">
              <c15:datalabelsRange>
                <c15:f>Sheet1!$E$2:$E$58</c15:f>
                <c15:dlblRangeCache>
                  <c:ptCount val="57"/>
                  <c:pt idx="0">
                    <c:v>La Vache Qui Rit Aro Fromage Fondu Boite Ronde Jambon 1X133Gr 8P</c:v>
                  </c:pt>
                  <c:pt idx="1">
                    <c:v>Kiri Creme Fromage Blanc Frais Carre 1X432Gr 24P</c:v>
                  </c:pt>
                  <c:pt idx="2">
                    <c:v>Kiri Creme Fromage Blanc Frais Carre 1X216Gr 12P</c:v>
                  </c:pt>
                  <c:pt idx="3">
                    <c:v>La Vache Qui Rit Nature Fromage Fondu Boite Ronde 1X192Gr 12P</c:v>
                  </c:pt>
                  <c:pt idx="4">
                    <c:v>La Vache Qui Rit Nature Fromage Fondu Boite Ronde 1X256Gr 16P</c:v>
                  </c:pt>
                  <c:pt idx="5">
                    <c:v>La Vache Qui Rit Nature Fromage Fondu Boite Ronde 1X512Gr 24+8P</c:v>
                  </c:pt>
                  <c:pt idx="6">
                    <c:v>La Vache Qui Rit Nature Fromage Fondu Boite Ronde 1X384Gr 24P</c:v>
                  </c:pt>
                  <c:pt idx="7">
                    <c:v>La Vache Qui Rit Nature Fromage Fondu Boite Ronde 1X512Gr 32P</c:v>
                  </c:pt>
                  <c:pt idx="8">
                    <c:v>La Vache Qui Rit Allegee Fromage Fondu Boite Ronde Allege 1X267Gr 16P</c:v>
                  </c:pt>
                  <c:pt idx="9">
                    <c:v>La Vache Qui Rit Nature Fromage Fondu Boite Ronde 1X128Gr 8P</c:v>
                  </c:pt>
                  <c:pt idx="10">
                    <c:v>La Vache Qui Rit Pik Et Croq' Fromage Fondu Dips Boite 1X35Gr 1P</c:v>
                  </c:pt>
                  <c:pt idx="11">
                    <c:v>La Vache Qui Rit Bio Fromage Fondu Boite Ronde 1X128Gr 8P</c:v>
                  </c:pt>
                  <c:pt idx="12">
                    <c:v>Kiri Gouter Fromage Blanc Dips Boite 1X175Gr 5P</c:v>
                  </c:pt>
                  <c:pt idx="13">
                    <c:v>Kiri Gouter Fromage Blanc Dips Boite 1X280Gr 8P</c:v>
                  </c:pt>
                  <c:pt idx="14">
                    <c:v>La Vache Qui Rit Pik Et Croq' Fromage Fondu Dips Boite 1X175Gr 5P</c:v>
                  </c:pt>
                  <c:pt idx="15">
                    <c:v>La Vache Qui Rit Pik Et Croq' Fromage Fondu Dips Boite 1X280Gr 8P</c:v>
                  </c:pt>
                  <c:pt idx="16">
                    <c:v>Kiri Creme Fromage Blanc Frais Carre 1X432Gr 18+6P</c:v>
                  </c:pt>
                  <c:pt idx="17">
                    <c:v>Kiri Creme Fromage Blanc Frais Carre 1X144Gr 8P</c:v>
                  </c:pt>
                  <c:pt idx="18">
                    <c:v>Kiri Bio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10598352-5C29-478E-9F6A-6A100C027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C97543F1-95FB-4798-9D44-50B1D2C59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478DD56-6A0B-49B4-A715-927F69A72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C96145A7-08E3-48FD-B054-A2A34A928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5E7025B-34CE-417F-AB0B-DE66C4AE7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63A396E-A0F0-47D4-9952-82D28EB0D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6A6C0BD-D517-4FAC-B5F9-2BF55B342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B4C2489-B320-47C1-AF29-5B61C24F7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B5570AB-B5E7-4C8F-A1E7-3F3DB52EE9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D5137203-91BC-43F3-A8E2-05E2DA296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98C9D0B-7A2A-4458-A550-50E428A47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262B27D-3F16-46B7-A328-3456511B7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6DFE61D-B35D-4162-8136-60D975FEE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51AC699A-366C-4848-8F1D-7788D186A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3BAFA786-1784-4C17-88A2-7313768D0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CEB0AF9B-978D-4CDC-BAE4-E0EB4DB0E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F06767C-539E-4ABC-B1C7-CCAB10E9B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F8F2679C-A2BA-430B-AD7C-B32CEDBBD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724772F-EE07-44D7-A709-5BFD22E9B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A383233-78CE-4515-8FEA-C86532461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1B71D5B-83A1-4C7D-A2AB-31711DADD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E0A23A8B-304E-4C6D-A597-561F27EFFA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78AAC57-9D58-4E73-8EDD-F864F7115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7D13291-480F-4098-872B-AE2CF6846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BEABDAC5-D613-453F-A11B-545E5C691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DC20E007-EB32-47BB-998C-373FE2E26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6E5C2584-038A-4D46-A92C-D70155E6C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CF6DF081-4CFD-4251-A7C9-F0C4ED635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D733BAA-1F17-422B-8D6C-2E877D8EC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DC9BA2B0-C58E-4E52-972F-16D17F78C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098A62C-39AF-4F59-A99A-3093390C8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8D162273-9226-4B1E-A2D9-99B3A382C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C69E4C62-E363-43F1-817F-506F0E04D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CBD7D3E8-EF49-4878-977C-0D4C763C7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41FA6D1-0EEF-4C63-8AD6-410E08D59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B19CD93-B2EB-4840-A348-26BC4D499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842A4EC-A9D2-49B9-85DE-FCAD085F9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AC0BA0F-A7CA-4BF4-9400-01585743C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0136C4F0-FD33-4101-872C-5D1626325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6EBD08F6-A41E-4778-9006-E51A2A0E5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2E4C405E-B09E-48AB-B58E-50C5D529D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C1E239C-8301-43B7-A1E3-D32765E7B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24A6E17-0903-4E67-8546-273FD418A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C88BBAF4-1AEF-49CA-9115-FB8F101F8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D9A3D87D-EB93-4D8E-B382-B32A861888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013437B-0B8E-45BA-AAC7-FBBB088E8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1C58D405-9F48-4938-902F-3D989CC8F2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6B3ECBB5-0DD6-4F8A-A4FC-2D707F1778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386E5303-E32E-49CA-A65D-C2175E8F2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6484C788-5DA1-4C7D-9868-7C448B1A9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13C0DF0-8B50-4B99-BEE9-B6145B8D1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F782C3C-82B4-4A58-81E0-22486172D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00C10AC3-9E52-4B8B-A00B-DBB6B2A18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8A6CDFD8-500C-4FC8-BF01-0B68A5171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F936157B-456F-4A3C-8835-151084BD3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7D2D7679-54AD-4639-A085-B5A05D325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42481DE6-BC7A-4F99-906C-8EB7351D6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2</c:f>
              <c:numCache>
                <c:formatCode>General</c:formatCode>
                <c:ptCount val="51"/>
                <c:pt idx="0">
                  <c:v>0.3483</c:v>
                </c:pt>
                <c:pt idx="1">
                  <c:v>0.43109999999999998</c:v>
                </c:pt>
                <c:pt idx="2">
                  <c:v>0.307</c:v>
                </c:pt>
                <c:pt idx="3">
                  <c:v>0.3422</c:v>
                </c:pt>
                <c:pt idx="4">
                  <c:v>0.3775</c:v>
                </c:pt>
                <c:pt idx="5">
                  <c:v>0.35499999999999998</c:v>
                </c:pt>
                <c:pt idx="6">
                  <c:v>0.34489999999999998</c:v>
                </c:pt>
                <c:pt idx="7">
                  <c:v>0.37940000000000002</c:v>
                </c:pt>
                <c:pt idx="8">
                  <c:v>0.3014</c:v>
                </c:pt>
                <c:pt idx="9">
                  <c:v>0.41099999999999998</c:v>
                </c:pt>
                <c:pt idx="10">
                  <c:v>0.40870000000000001</c:v>
                </c:pt>
                <c:pt idx="11">
                  <c:v>0.25490000000000002</c:v>
                </c:pt>
                <c:pt idx="12">
                  <c:v>0.3306</c:v>
                </c:pt>
                <c:pt idx="13">
                  <c:v>0.3155</c:v>
                </c:pt>
                <c:pt idx="14">
                  <c:v>0.37190000000000001</c:v>
                </c:pt>
                <c:pt idx="15">
                  <c:v>0.41449999999999998</c:v>
                </c:pt>
                <c:pt idx="16">
                  <c:v>0.56910000000000005</c:v>
                </c:pt>
                <c:pt idx="17">
                  <c:v>0.42080000000000001</c:v>
                </c:pt>
                <c:pt idx="18">
                  <c:v>0.40210000000000001</c:v>
                </c:pt>
                <c:pt idx="19">
                  <c:v>0.48430000000000001</c:v>
                </c:pt>
                <c:pt idx="20">
                  <c:v>0.39889999999999998</c:v>
                </c:pt>
                <c:pt idx="21">
                  <c:v>0.33850000000000002</c:v>
                </c:pt>
                <c:pt idx="22">
                  <c:v>0.36270000000000002</c:v>
                </c:pt>
                <c:pt idx="23">
                  <c:v>0.33939999999999998</c:v>
                </c:pt>
                <c:pt idx="24">
                  <c:v>0.2631</c:v>
                </c:pt>
                <c:pt idx="25">
                  <c:v>0.35049999999999998</c:v>
                </c:pt>
                <c:pt idx="26">
                  <c:v>0.35210000000000002</c:v>
                </c:pt>
                <c:pt idx="27">
                  <c:v>0.38840000000000002</c:v>
                </c:pt>
                <c:pt idx="28">
                  <c:v>0.3926</c:v>
                </c:pt>
                <c:pt idx="29">
                  <c:v>0.44700000000000001</c:v>
                </c:pt>
                <c:pt idx="30">
                  <c:v>0.53649999999999998</c:v>
                </c:pt>
                <c:pt idx="31">
                  <c:v>0.4264</c:v>
                </c:pt>
                <c:pt idx="32">
                  <c:v>0.40820000000000001</c:v>
                </c:pt>
                <c:pt idx="33">
                  <c:v>0.31900000000000001</c:v>
                </c:pt>
                <c:pt idx="34">
                  <c:v>0.37180000000000002</c:v>
                </c:pt>
                <c:pt idx="35">
                  <c:v>0.35110000000000002</c:v>
                </c:pt>
                <c:pt idx="36">
                  <c:v>0.35649999999999998</c:v>
                </c:pt>
                <c:pt idx="37">
                  <c:v>0.24660000000000001</c:v>
                </c:pt>
                <c:pt idx="38">
                  <c:v>0.43590000000000001</c:v>
                </c:pt>
                <c:pt idx="39">
                  <c:v>0.3468</c:v>
                </c:pt>
                <c:pt idx="40">
                  <c:v>0.3392</c:v>
                </c:pt>
                <c:pt idx="41">
                  <c:v>0.38400000000000001</c:v>
                </c:pt>
                <c:pt idx="42">
                  <c:v>0.52090000000000003</c:v>
                </c:pt>
                <c:pt idx="43">
                  <c:v>0.50129999999999997</c:v>
                </c:pt>
                <c:pt idx="44">
                  <c:v>0.52449999999999997</c:v>
                </c:pt>
                <c:pt idx="45">
                  <c:v>0.52400000000000002</c:v>
                </c:pt>
                <c:pt idx="46">
                  <c:v>0.45950000000000002</c:v>
                </c:pt>
                <c:pt idx="47">
                  <c:v>0.4793</c:v>
                </c:pt>
                <c:pt idx="48">
                  <c:v>0.38669999999999999</c:v>
                </c:pt>
                <c:pt idx="49">
                  <c:v>0.33750000000000002</c:v>
                </c:pt>
                <c:pt idx="50">
                  <c:v>0.4259</c:v>
                </c:pt>
              </c:numCache>
            </c:numRef>
          </c:xVal>
          <c:yVal>
            <c:numRef>
              <c:f>Sheet1!$B$2:$B$52</c:f>
              <c:numCache>
                <c:formatCode>General</c:formatCode>
                <c:ptCount val="51"/>
                <c:pt idx="0">
                  <c:v>0.33229999999999998</c:v>
                </c:pt>
                <c:pt idx="1">
                  <c:v>0.39789999999999998</c:v>
                </c:pt>
                <c:pt idx="2">
                  <c:v>0.1164</c:v>
                </c:pt>
                <c:pt idx="3">
                  <c:v>0.37059999999999998</c:v>
                </c:pt>
                <c:pt idx="4">
                  <c:v>0.26329999999999998</c:v>
                </c:pt>
                <c:pt idx="5">
                  <c:v>0.34</c:v>
                </c:pt>
                <c:pt idx="6">
                  <c:v>0.3397</c:v>
                </c:pt>
                <c:pt idx="7">
                  <c:v>0.1764</c:v>
                </c:pt>
                <c:pt idx="8">
                  <c:v>0.45519999999999999</c:v>
                </c:pt>
                <c:pt idx="9">
                  <c:v>0.44550000000000001</c:v>
                </c:pt>
                <c:pt idx="10">
                  <c:v>0.438</c:v>
                </c:pt>
                <c:pt idx="11">
                  <c:v>0.1852</c:v>
                </c:pt>
                <c:pt idx="12">
                  <c:v>0.30149999999999999</c:v>
                </c:pt>
                <c:pt idx="13">
                  <c:v>0.14399999999999999</c:v>
                </c:pt>
                <c:pt idx="14">
                  <c:v>0.4461</c:v>
                </c:pt>
                <c:pt idx="15">
                  <c:v>0.49409999999999998</c:v>
                </c:pt>
                <c:pt idx="16">
                  <c:v>0.70169999999999999</c:v>
                </c:pt>
                <c:pt idx="17">
                  <c:v>0.40160000000000001</c:v>
                </c:pt>
                <c:pt idx="18">
                  <c:v>0.3861</c:v>
                </c:pt>
                <c:pt idx="19">
                  <c:v>0.12820000000000001</c:v>
                </c:pt>
                <c:pt idx="20">
                  <c:v>0.37559999999999999</c:v>
                </c:pt>
                <c:pt idx="21">
                  <c:v>0.43509999999999999</c:v>
                </c:pt>
                <c:pt idx="22">
                  <c:v>0.43030000000000002</c:v>
                </c:pt>
                <c:pt idx="23">
                  <c:v>0.46029999999999999</c:v>
                </c:pt>
                <c:pt idx="24">
                  <c:v>0.21809999999999999</c:v>
                </c:pt>
                <c:pt idx="25">
                  <c:v>0.499</c:v>
                </c:pt>
                <c:pt idx="26">
                  <c:v>0.39939999999999998</c:v>
                </c:pt>
                <c:pt idx="27">
                  <c:v>0.32579999999999998</c:v>
                </c:pt>
                <c:pt idx="28">
                  <c:v>0.34379999999999999</c:v>
                </c:pt>
                <c:pt idx="29">
                  <c:v>0.15479999999999999</c:v>
                </c:pt>
                <c:pt idx="30">
                  <c:v>7.4200000000000002E-2</c:v>
                </c:pt>
                <c:pt idx="31">
                  <c:v>0.20549999999999999</c:v>
                </c:pt>
                <c:pt idx="32">
                  <c:v>0.25459999999999999</c:v>
                </c:pt>
                <c:pt idx="33">
                  <c:v>0.39140000000000003</c:v>
                </c:pt>
                <c:pt idx="34">
                  <c:v>0.35070000000000001</c:v>
                </c:pt>
                <c:pt idx="35">
                  <c:v>0.36730000000000002</c:v>
                </c:pt>
                <c:pt idx="36">
                  <c:v>0.35470000000000002</c:v>
                </c:pt>
                <c:pt idx="37">
                  <c:v>0.2873</c:v>
                </c:pt>
                <c:pt idx="38">
                  <c:v>0.24879999999999999</c:v>
                </c:pt>
                <c:pt idx="39">
                  <c:v>0.34050000000000002</c:v>
                </c:pt>
                <c:pt idx="40">
                  <c:v>0.2989</c:v>
                </c:pt>
                <c:pt idx="41">
                  <c:v>0.34599999999999997</c:v>
                </c:pt>
                <c:pt idx="42">
                  <c:v>-3.1600000000000003E-2</c:v>
                </c:pt>
                <c:pt idx="43">
                  <c:v>8.1500000000000003E-2</c:v>
                </c:pt>
                <c:pt idx="44">
                  <c:v>8.9099999999999999E-2</c:v>
                </c:pt>
                <c:pt idx="45">
                  <c:v>-1.0999999999999999E-2</c:v>
                </c:pt>
                <c:pt idx="46">
                  <c:v>7.9399999999999998E-2</c:v>
                </c:pt>
                <c:pt idx="47">
                  <c:v>0.3715</c:v>
                </c:pt>
                <c:pt idx="48">
                  <c:v>0.28749999999999998</c:v>
                </c:pt>
                <c:pt idx="49">
                  <c:v>0.43969999999999998</c:v>
                </c:pt>
                <c:pt idx="50">
                  <c:v>0.23480000000000001</c:v>
                </c:pt>
              </c:numCache>
            </c:numRef>
          </c:yVal>
          <c:bubbleSize>
            <c:numRef>
              <c:f>Sheet1!$C$2:$C$52</c:f>
              <c:numCache>
                <c:formatCode>General</c:formatCode>
                <c:ptCount val="51"/>
                <c:pt idx="0">
                  <c:v>36210.382513661199</c:v>
                </c:pt>
                <c:pt idx="1">
                  <c:v>8120.5405405405409</c:v>
                </c:pt>
                <c:pt idx="2">
                  <c:v>912.44318181818176</c:v>
                </c:pt>
                <c:pt idx="3">
                  <c:v>35111.053719008269</c:v>
                </c:pt>
                <c:pt idx="4">
                  <c:v>956.90802348336592</c:v>
                </c:pt>
                <c:pt idx="5">
                  <c:v>6379.6974063400576</c:v>
                </c:pt>
                <c:pt idx="6">
                  <c:v>8691.4627994955863</c:v>
                </c:pt>
                <c:pt idx="7">
                  <c:v>81394.755784061694</c:v>
                </c:pt>
                <c:pt idx="8">
                  <c:v>42862.613908872903</c:v>
                </c:pt>
                <c:pt idx="9">
                  <c:v>64775.474006116208</c:v>
                </c:pt>
                <c:pt idx="10">
                  <c:v>0</c:v>
                </c:pt>
                <c:pt idx="11">
                  <c:v>19364.593103448271</c:v>
                </c:pt>
                <c:pt idx="12">
                  <c:v>72823.240534521159</c:v>
                </c:pt>
                <c:pt idx="13">
                  <c:v>143117.4607013301</c:v>
                </c:pt>
                <c:pt idx="14">
                  <c:v>7373.9595959595963</c:v>
                </c:pt>
                <c:pt idx="15">
                  <c:v>22077.01729106628</c:v>
                </c:pt>
                <c:pt idx="16">
                  <c:v>29388.75</c:v>
                </c:pt>
                <c:pt idx="17">
                  <c:v>9290.7881136950891</c:v>
                </c:pt>
                <c:pt idx="18">
                  <c:v>7421.5241057542771</c:v>
                </c:pt>
                <c:pt idx="19">
                  <c:v>3280.8506224066391</c:v>
                </c:pt>
                <c:pt idx="20">
                  <c:v>34465.816649104323</c:v>
                </c:pt>
                <c:pt idx="21">
                  <c:v>25172.049180327871</c:v>
                </c:pt>
                <c:pt idx="22">
                  <c:v>19583.832599118941</c:v>
                </c:pt>
                <c:pt idx="23">
                  <c:v>10205.71428571429</c:v>
                </c:pt>
                <c:pt idx="24">
                  <c:v>16379.70670391062</c:v>
                </c:pt>
                <c:pt idx="25">
                  <c:v>47708.959595959597</c:v>
                </c:pt>
                <c:pt idx="26">
                  <c:v>5967.6095617529882</c:v>
                </c:pt>
                <c:pt idx="27">
                  <c:v>5613.8606676342533</c:v>
                </c:pt>
                <c:pt idx="28">
                  <c:v>20726.226611226612</c:v>
                </c:pt>
                <c:pt idx="29">
                  <c:v>4221.7228464419468</c:v>
                </c:pt>
                <c:pt idx="30">
                  <c:v>1752.3170731707321</c:v>
                </c:pt>
                <c:pt idx="31">
                  <c:v>5431.6768665850677</c:v>
                </c:pt>
                <c:pt idx="32">
                  <c:v>2424.0594059405939</c:v>
                </c:pt>
                <c:pt idx="33">
                  <c:v>3167.5167785234898</c:v>
                </c:pt>
                <c:pt idx="34">
                  <c:v>2165.5472636815921</c:v>
                </c:pt>
                <c:pt idx="35">
                  <c:v>11865.907429963459</c:v>
                </c:pt>
                <c:pt idx="36">
                  <c:v>28428.861878453041</c:v>
                </c:pt>
                <c:pt idx="37">
                  <c:v>4761.8113207547167</c:v>
                </c:pt>
                <c:pt idx="38">
                  <c:v>1840.8</c:v>
                </c:pt>
                <c:pt idx="39">
                  <c:v>12732.233502538071</c:v>
                </c:pt>
                <c:pt idx="40">
                  <c:v>25830.86903304774</c:v>
                </c:pt>
                <c:pt idx="41">
                  <c:v>7665.3875968992243</c:v>
                </c:pt>
                <c:pt idx="42">
                  <c:v>1246.9437652811739</c:v>
                </c:pt>
                <c:pt idx="43">
                  <c:v>2258.3985765124548</c:v>
                </c:pt>
                <c:pt idx="44">
                  <c:v>502.59259259259261</c:v>
                </c:pt>
                <c:pt idx="45">
                  <c:v>1782.271880819367</c:v>
                </c:pt>
                <c:pt idx="46">
                  <c:v>1204.459102902375</c:v>
                </c:pt>
                <c:pt idx="47">
                  <c:v>1513.710407239819</c:v>
                </c:pt>
                <c:pt idx="48">
                  <c:v>1723.954154727794</c:v>
                </c:pt>
                <c:pt idx="49">
                  <c:v>1054.3076923076919</c:v>
                </c:pt>
                <c:pt idx="50">
                  <c:v>1488.977272727273</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La Vache Qui Rit Aro Fromage Fondu Boite Ronde Jambon 1X133Gr 8P</c:v>
                  </c:pt>
                  <c:pt idx="2">
                    <c:v>Boursin Classique Fromage Frais A Tartiner Afh Boite 1X320Gr 16+4P</c:v>
                  </c:pt>
                  <c:pt idx="3">
                    <c:v>Boursin Classique Fromage Frais A Tartiner Afh Boite 1X150Gr 1P</c:v>
                  </c:pt>
                  <c:pt idx="4">
                    <c:v>Boursin Classique Fromage Frais A Tartiner Truffe Boite 1X150Gr 1P</c:v>
                  </c:pt>
                  <c:pt idx="5">
                    <c:v>Boursin Classique Fromage Frais A Tartiner Figue Et 3 Noix Boite 1X150Gr 1P</c:v>
                  </c:pt>
                  <c:pt idx="6">
                    <c:v>Boursin Classique Fromage Frais A Tartiner Ciboulette &amp; Echalote Boite 1X150Gr 1P</c:v>
                  </c:pt>
                  <c:pt idx="7">
                    <c:v>Kiri Creme Fromage Blanc Frais Carre 1X432Gr 24P</c:v>
                  </c:pt>
                  <c:pt idx="8">
                    <c:v>Kiri Creme Fromage Blanc Frais Carre 1X216Gr 12P</c:v>
                  </c:pt>
                  <c:pt idx="9">
                    <c:v>La Vache Qui Rit Nature Fromage Fondu Boite Ronde 1X192Gr 12P</c:v>
                  </c:pt>
                  <c:pt idx="10">
                    <c:v>La Vache Qui Rit Nature Fromage Fondu Boite Ronde 1X256Gr 16P</c:v>
                  </c:pt>
                  <c:pt idx="11">
                    <c:v>La Vache Qui Rit Nature Fromage Fondu Boite Ronde 1X512Gr 24+8P</c:v>
                  </c:pt>
                  <c:pt idx="12">
                    <c:v>La Vache Qui Rit Nature Fromage Fondu Boite Ronde 1X384Gr 24P</c:v>
                  </c:pt>
                  <c:pt idx="13">
                    <c:v>La Vache Qui Rit Nature Fromage Fondu Boite Ronde 1X512Gr 32P</c:v>
                  </c:pt>
                  <c:pt idx="14">
                    <c:v>La Vache Qui Rit Allegee Fromage Fondu Boite Ronde Allege 1X267Gr 16P</c:v>
                  </c:pt>
                  <c:pt idx="15">
                    <c:v>La Vache Qui Rit Nature Fromage Fondu Boite Ronde 1X128Gr 8P</c:v>
                  </c:pt>
                  <c:pt idx="16">
                    <c:v>La Vache Qui Rit Pik Et Croq' Fromage Fondu Dips Boite 1X35Gr 1P</c:v>
                  </c:pt>
                  <c:pt idx="17">
                    <c:v>Kiri Delicieusement Fouette Fromage Frais A Tartiner 1X125Gr 1P</c:v>
                  </c:pt>
                  <c:pt idx="18">
                    <c:v>Kiri Delicieusement Fouette Fromage Frais A Tartiner 1X210Gr 1P</c:v>
                  </c:pt>
                  <c:pt idx="19">
                    <c:v>La Vache Qui Rit Bio Fromage Fondu Boite Ronde 1X128Gr 8P</c:v>
                  </c:pt>
                  <c:pt idx="20">
                    <c:v>Kiri Gouter Fromage Blanc Dips Boite 1X175Gr 5P</c:v>
                  </c:pt>
                  <c:pt idx="21">
                    <c:v>Kiri Gouter Fromage Blanc Dips Boite 1X280Gr 8P</c:v>
                  </c:pt>
                  <c:pt idx="22">
                    <c:v>La Vache Qui Rit Pik Et Croq' Fromage Fondu Dips Boite 1X175Gr 5P</c:v>
                  </c:pt>
                  <c:pt idx="23">
                    <c:v>La Vache Qui Rit Pik Et Croq' Fromage Fondu Dips Boite 1X280Gr 8P</c:v>
                  </c:pt>
                  <c:pt idx="24">
                    <c:v>Kiri Creme Fromage Blanc Frais Carre 1X432Gr 18+6P</c:v>
                  </c:pt>
                  <c:pt idx="25">
                    <c:v>Kiri Creme Fromage Blanc Frais Carre 1X144Gr 8P</c:v>
                  </c:pt>
                  <c:pt idx="26">
                    <c:v>Kiri Bio Fromage Blanc Frais Carre 1X144Gr 8P</c:v>
                  </c:pt>
                  <c:pt idx="27">
                    <c:v>Kiri Delicieusement Fouette Fromage Frais A Tartiner 1X160Gr 10P</c:v>
                  </c:pt>
                  <c:pt idx="28">
                    <c:v>Boursin Salade &amp; Aperitif Fromage Frais Des Afh 1X120Gr 1P</c:v>
                  </c:pt>
                  <c:pt idx="29">
                    <c:v>Boursin Salade &amp; Aperitif Fromage Frais Des Figue Noix 1X120Gr 1P</c:v>
                  </c:pt>
                  <c:pt idx="30">
                    <c:v>Boursin Salade &amp; Aperitif Fromage Frais Des Noisette Et 3 Noix 1X120Gr 1P</c:v>
                  </c:pt>
                  <c:pt idx="31">
                    <c:v>Boursin Salade &amp; Aperitif Fromage Frais Des Ciboulette Echalote 1X120Gr 1P</c:v>
                  </c:pt>
                  <c:pt idx="32">
                    <c:v>Boursin Salade &amp; Aperitif Fromage Frais Des Citron Romarin 1X120Gr 1P</c:v>
                  </c:pt>
                  <c:pt idx="33">
                    <c:v>Boursin Classique Fromage Frais A Tartiner Afh Boite 1X80Gr 1P</c:v>
                  </c:pt>
                  <c:pt idx="34">
                    <c:v>Boursin Classique Fromage Frais A Tartiner Poivre Boite 1X150Gr 1P</c:v>
                  </c:pt>
                  <c:pt idx="35">
                    <c:v>Boursin Classique Fromage Frais A Tartiner Afh Boite 1X96Gr 6P</c:v>
                  </c:pt>
                  <c:pt idx="36">
                    <c:v>Boursin Aperitif Roules Fromage Frais Roule Afh Et Jambon Fume Boite 1X100Gr 20P</c:v>
                  </c:pt>
                  <c:pt idx="37">
                    <c:v>Boursin Classique Fromage Frais A Tartiner Afh 1X256Gr 16P</c:v>
                  </c:pt>
                  <c:pt idx="38">
                    <c:v>Boursin Classique Fromage Frais A Tartiner Ciboulette &amp; Echalote 1X160Gr 10P</c:v>
                  </c:pt>
                  <c:pt idx="39">
                    <c:v>Boursin Aperitif Roules Fromage Frais Roule Ciboulette &amp; Echalote Jambon Fume Boite 1X100Gr 20P</c:v>
                  </c:pt>
                  <c:pt idx="40">
                    <c:v>Boursin Classique Fromage Frais A Tartiner Afh Boite 1X250Gr 1P</c:v>
                  </c:pt>
                  <c:pt idx="41">
                    <c:v>Boursin Onctueux Fromage Frais A Tartiner Afh 1X125Gr 1P</c:v>
                  </c:pt>
                  <c:pt idx="42">
                    <c:v>Boursin Aperitif Roules Fromage Frais Roule Jambon Fume &amp; Trio De Noix Boite 1X100Gr 20P</c:v>
                  </c:pt>
                  <c:pt idx="43">
                    <c:v>Boursin Onctueux Fromage Frais A Tartiner Afh 1X210Gr 1P</c:v>
                  </c:pt>
                  <c:pt idx="44">
                    <c:v>Boursin Classique Fromage Frais A Tartiner Citron &amp; Romarin Boite 1X150Gr 1P</c:v>
                  </c:pt>
                  <c:pt idx="45">
                    <c:v>Boursin Classique Fromage Frais A Tartiner 3 Noix Boite 1X150Gr 1P</c:v>
                  </c:pt>
                  <c:pt idx="46">
                    <c:v>Boursin Classique Fromage Frais A Tartiner 3 Noix 1X160Gr 10P</c:v>
                  </c:pt>
                  <c:pt idx="47">
                    <c:v>Boursin Vegetal Specialite Vegetale A Tartiner Afh 1X130Gr 1P</c:v>
                  </c:pt>
                  <c:pt idx="48">
                    <c:v>Bel Boursin Salade &amp; Aperitif Soft Cheese Salade 1 Ct X 120Gr</c:v>
                  </c:pt>
                  <c:pt idx="49">
                    <c:v>Bel Boursin Vegetal Alternative Vegetale Alternative Vegetale 1 Ct X 150Gr</c:v>
                  </c:pt>
                  <c:pt idx="50">
                    <c:v>Bel Boursin Aperitif Roules Aperitif Aperitif 1 Ct X 10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01A370D-10E6-4112-997A-5D1E26145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3E92905-3A6C-4FE0-A7A2-8AD1D0FCD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FCB06EE-BB2B-49D2-8883-679869929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16E3341-0158-451D-A7A7-1727B8EFB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D2A-4F1E-BC80-EAAAE9B08A80}"/>
                </c:ext>
              </c:extLst>
            </c:dLbl>
            <c:dLbl>
              <c:idx val="4"/>
              <c:tx>
                <c:rich>
                  <a:bodyPr/>
                  <a:lstStyle/>
                  <a:p>
                    <a:fld id="{D7B112E6-AA06-45AF-857D-C8ECF969A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D2A-4F1E-BC80-EAAAE9B08A80}"/>
                </c:ext>
              </c:extLst>
            </c:dLbl>
            <c:dLbl>
              <c:idx val="5"/>
              <c:tx>
                <c:rich>
                  <a:bodyPr/>
                  <a:lstStyle/>
                  <a:p>
                    <a:fld id="{03217000-0A86-4145-8E56-E747F691F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D2A-4F1E-BC80-EAAAE9B08A80}"/>
                </c:ext>
              </c:extLst>
            </c:dLbl>
            <c:dLbl>
              <c:idx val="6"/>
              <c:tx>
                <c:rich>
                  <a:bodyPr/>
                  <a:lstStyle/>
                  <a:p>
                    <a:fld id="{12E3A613-5081-486C-92C9-4DC71368D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7D2A-4F1E-BC80-EAAAE9B08A80}"/>
                </c:ext>
              </c:extLst>
            </c:dLbl>
            <c:dLbl>
              <c:idx val="7"/>
              <c:tx>
                <c:rich>
                  <a:bodyPr/>
                  <a:lstStyle/>
                  <a:p>
                    <a:fld id="{321E0230-D81C-4AE3-9C7B-9EAAB8FB3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1976</c:v>
                </c:pt>
                <c:pt idx="1">
                  <c:v>6.5247999999999999</c:v>
                </c:pt>
                <c:pt idx="2">
                  <c:v>8.2379999999999995</c:v>
                </c:pt>
              </c:numCache>
            </c:numRef>
          </c:xVal>
          <c:yVal>
            <c:numRef>
              <c:f>Sheet1!$B$2:$B$4</c:f>
              <c:numCache>
                <c:formatCode>General</c:formatCode>
                <c:ptCount val="3"/>
                <c:pt idx="0">
                  <c:v>0.41560000000000002</c:v>
                </c:pt>
                <c:pt idx="1">
                  <c:v>0.32169999999999999</c:v>
                </c:pt>
                <c:pt idx="2">
                  <c:v>0.40550000000000003</c:v>
                </c:pt>
              </c:numCache>
            </c:numRef>
          </c:yVal>
          <c:bubbleSize>
            <c:numRef>
              <c:f>Sheet1!$C$2:$C$4</c:f>
              <c:numCache>
                <c:formatCode>General</c:formatCode>
                <c:ptCount val="3"/>
                <c:pt idx="0">
                  <c:v>3015794.5518999998</c:v>
                </c:pt>
                <c:pt idx="1">
                  <c:v>3275056.2296000002</c:v>
                </c:pt>
                <c:pt idx="2">
                  <c:v>2862972.6170000001</c:v>
                </c:pt>
              </c:numCache>
            </c:numRef>
          </c:bubbleSize>
          <c:bubble3D val="0"/>
          <c:extLst>
            <c:ext xmlns:c15="http://schemas.microsoft.com/office/drawing/2012/chart" uri="{02D57815-91ED-43cb-92C2-25804820EDAC}">
              <c15:datalabelsRange>
                <c15:f>Sheet1!$E$2:$E$29</c15:f>
                <c15:dlblRangeCache>
                  <c:ptCount val="28"/>
                  <c:pt idx="0">
                    <c:v>Mini Babybel</c:v>
                  </c:pt>
                  <c:pt idx="1">
                    <c:v>La Vache Qui Rit</c:v>
                  </c:pt>
                  <c:pt idx="2">
                    <c:v>Kiri</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3.437119999999998"/>
          <c:min val="5.2198400000000005"/>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7884554355655675"/>
        <c:crossBetween val="midCat"/>
      </c:valAx>
      <c:valAx>
        <c:axId val="1011451359"/>
        <c:scaling>
          <c:orientation val="minMax"/>
          <c:max val="0.85872000000000004"/>
          <c:min val="1.7359999999999997E-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8.600113084221799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B582267-9073-41E7-BBC5-023CE8DF7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1BAC32A-F041-496C-9911-838B78854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E44FB7C0-A2F6-4A5C-93AE-DED665931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366B835-7C11-44FF-A99B-F122F4FE2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65B0A202-662E-4446-B142-925004CB8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55C123A1-C1E8-43D4-B4B5-438884E85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8E981ABA-5A3F-4675-9232-CC999DFAD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C19C9A0-DE5D-4B9A-A2C6-875B05DA1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D656E5D8-A42A-43A5-B38D-E2834177D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A8AA3416-A95C-4CBD-AF89-7D4087283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15BA9058-2FD4-4287-82EC-2375CA946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7BE9904-3456-4F24-84FB-59BE8EDB7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234E3423-8CEA-4111-A1C2-03EC7CA6D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8757A76B-D6C3-4009-B5CE-CB3F51154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8E129372-6705-4FC5-9637-373AA0948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88A70364-6D1E-420A-ABB4-4AD3CBB1E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732192D4-EB43-4525-A096-C0D01572B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C87FCEFB-B52B-4389-8762-E9172FCE2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2397FF0A-AB77-4C6D-8762-151569814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2CD9D9A4-AA03-433C-990D-9D4BF059B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381FF53D-130A-4A55-9B9A-BDD0EE0C0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72FDA070-6696-4DF5-8466-C9822E5A94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424BBD1A-FC56-4DCE-BB04-F6FD083C3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9B76FAFC-F939-4C36-AF36-5952682DD1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99CC936-7DF7-4345-8876-FDE6F4D83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9958CE94-58F2-417B-8F32-B2B98C1B3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02C23052-8484-4FFE-A845-3B0BCE880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2E78C66B-1A36-4142-A580-02886A57C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113F7974-E4E1-4FE6-B45B-A43C972F6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3C338D39-44D2-4430-B4EE-74AD39FCB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F98AEAF7-5E6F-413C-AA7D-8234BFF10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05E17529-BBA2-427D-9097-98881C8A8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63B9CE0C-E4AA-421F-B68F-BDE3F58FB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0CB26322-2CA3-4C9C-8A6B-ED76AD98E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061CE816-D859-41BC-A54B-C260882DB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85DE0AE6-E37E-4764-B861-F68F9686B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4EF80229-28D6-4E5F-9CA1-D2170B7EE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A9DA8648-AC51-415E-B9A3-6235D21A6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DEEC9C46-8BE7-496C-84B0-877DED759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01975E4F-BEB0-487F-9925-0775A6146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C8780C07-C5A2-4636-B6B9-40CEF132D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7575F1A9-F658-47C1-B478-0CF71B200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F542D6D4-70CE-4BCE-B121-0D5B7921B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3C341D2-9C2B-47B4-B45A-F60946E6E0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F3B1B200-0C3A-43F8-B25A-C8FEDB5AC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22D846E9-C999-4715-8A32-1E538D674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4679D98-EB73-41D1-A873-D8344A11F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B8AEF6E5-EC26-4E58-9EC4-3B129A324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29E7E484-8776-4071-A8FE-8C0F033C7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18BE24F6-B5C3-4450-86FC-1DACB8847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0F8C2A3D-9F0A-4905-A83E-25CB2DDAB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AC9034FF-A872-404C-A93B-A4391992B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CB4E0B63-C37F-408D-978A-CBD808367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A471FB32-4393-4FCE-9459-8F2B66020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90EE2242-FAD7-45C7-8986-92C35D668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43546751-45FD-4170-908B-068A9C2C1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FBC4BBF9-A7AC-4FC2-9272-436D2F3A5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c:f>
              <c:numCache>
                <c:formatCode>General</c:formatCode>
                <c:ptCount val="4"/>
                <c:pt idx="0">
                  <c:v>0.35649999999999998</c:v>
                </c:pt>
                <c:pt idx="1">
                  <c:v>0.3468</c:v>
                </c:pt>
                <c:pt idx="2">
                  <c:v>0.52090000000000003</c:v>
                </c:pt>
                <c:pt idx="3">
                  <c:v>0.4259</c:v>
                </c:pt>
              </c:numCache>
            </c:numRef>
          </c:xVal>
          <c:yVal>
            <c:numRef>
              <c:f>Sheet1!$B$2:$B$5</c:f>
              <c:numCache>
                <c:formatCode>General</c:formatCode>
                <c:ptCount val="4"/>
                <c:pt idx="0">
                  <c:v>0.35470000000000002</c:v>
                </c:pt>
                <c:pt idx="1">
                  <c:v>0.34050000000000002</c:v>
                </c:pt>
                <c:pt idx="2">
                  <c:v>-3.1600000000000003E-2</c:v>
                </c:pt>
                <c:pt idx="3">
                  <c:v>0.23480000000000001</c:v>
                </c:pt>
              </c:numCache>
            </c:numRef>
          </c:yVal>
          <c:bubbleSize>
            <c:numRef>
              <c:f>Sheet1!$C$2:$C$5</c:f>
              <c:numCache>
                <c:formatCode>General</c:formatCode>
                <c:ptCount val="4"/>
                <c:pt idx="0">
                  <c:v>28428.861878453041</c:v>
                </c:pt>
                <c:pt idx="1">
                  <c:v>12732.233502538071</c:v>
                </c:pt>
                <c:pt idx="2">
                  <c:v>1246.9437652811739</c:v>
                </c:pt>
                <c:pt idx="3">
                  <c:v>1488.977272727273</c:v>
                </c:pt>
              </c:numCache>
            </c:numRef>
          </c:bubbleSize>
          <c:bubble3D val="0"/>
          <c:extLst>
            <c:ext xmlns:c15="http://schemas.microsoft.com/office/drawing/2012/chart" uri="{02D57815-91ED-43cb-92C2-25804820EDAC}">
              <c15:datalabelsRange>
                <c15:f>Sheet1!$E$2:$E$58</c15:f>
                <c15:dlblRangeCache>
                  <c:ptCount val="57"/>
                  <c:pt idx="0">
                    <c:v>Boursin Aperitif Roules Fromage Frais Roule Afh Et Jambon Fume Boite 1X100Gr 20P</c:v>
                  </c:pt>
                  <c:pt idx="1">
                    <c:v>Boursin Aperitif Roules Fromage Frais Roule Ciboulette &amp; Echalote Jambon Fume Boite 1X100Gr 20P</c:v>
                  </c:pt>
                  <c:pt idx="2">
                    <c:v>Boursin Aperitif Roules Fromage Frais Roule Jambon Fume &amp; Trio De Noix Boite 1X100Gr 20P</c:v>
                  </c:pt>
                  <c:pt idx="3">
                    <c:v>Bel Boursin Aperitif Roules Aperitif Aperitif 1 Ct X 10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9A08875-C508-4C69-9924-1D29D5B25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877D0BAB-D25F-4F82-9A0E-89DFD3E33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49FAABD-12A9-4468-AA6B-4E0656842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D9A2B38-A82A-4F37-A952-A98A5539F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AF3ED98-0F09-41C7-9D46-4895B9458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6EED253-59E7-4A03-849C-1DC3409840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7853851-B93F-40D9-9290-43404627D0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AC52890-D944-4A16-BCD4-13451D50D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6E0FE94-93A9-45F2-A4A5-8DF45EC77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2F6D9C9-32DC-4CA9-A39C-D682300A4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0AFD6FB-CF17-405E-A704-27B144A22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B8378A14-7A14-4D10-AC2C-AED4F14A4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5E0CFAC-35DE-40DB-A35F-953915FD2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17FBCA20-E4BF-4811-9D3E-9ECD8C04D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30FB31F-0320-45CA-84B4-A383692F6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96CE9A2B-7EFE-46B2-9D0B-4CF3CD0D8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FC19FB1-A1C3-442E-9B56-5A33713365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D12E5399-3623-447E-BAE5-C7606BC0D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9D3CF5B-76B6-48E8-9487-64AD87EC47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FF3A71EF-F8BB-4B04-8B7C-9803EADE5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71D3D8AF-078C-4687-866A-938385E5D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8840AE0A-4E5F-4FE7-92E9-30133AF53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8C8C82C-03C4-415B-9625-BE5D3A6DE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7B43A151-9695-4EA0-AA7B-31022C182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7467245F-001A-447C-935F-782C4D860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7C4A31B6-6E6C-4228-AC71-9CF508F74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361B0A9C-ADDF-493C-BCDE-1AF431A39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11B07D65-D701-4E38-8AE8-295600004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33CF5382-11EE-49A6-AD46-A9A272DE7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65B2E159-5542-4314-8B36-06B6A33A0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9355F73-2642-4C52-A74A-9D96421FD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EB566E9-58A4-42BB-B84F-D5F2F33DE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1BEEDCCD-44F0-407B-A560-BF061EF34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9CC4E34-AD21-48BF-9859-D2506B4926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452E3512-AAEF-483F-BA1F-947458931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B7A8149E-DB45-40D1-8862-6F9997CED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1E312724-55D9-4B57-AEA2-1A4A2D42E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9B662A6-DC6F-4F60-8AA2-86E9B7AFB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4C6F9FD0-2C1E-4DD1-8C7B-000B265B1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AB9AB4F-7671-4E06-B44C-5E881358D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D7D59066-D32C-44D5-8DB8-E15389AA7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69F19524-C50D-416A-8829-E66FDF05B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0830A9B6-C0A3-4C08-B880-F67BBA21D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64F20574-B92A-4664-B2BE-E3BD96648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0F133710-A9D4-4437-918B-D56C90978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71C2B531-1784-4135-89D0-4F5B51368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A018664D-37BA-434A-9FD9-625538563C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E0B35E79-C4EB-4234-812F-903FE913E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D44F3031-2072-4842-A3E6-CFB858819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58EA5E83-0180-4FFA-B26B-15F0FA901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2947DBE-E8F5-4420-8E0D-B38771AE6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497109E4-E1C6-409D-9494-66F5A5783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21C88C43-D44B-436B-90E0-CFEE7B812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20A3582E-A2D3-45BD-9299-DD8BB4F15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8295BE7B-546B-4938-9E38-D240B9253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CEA42CD4-F729-456B-AA9F-32482B06C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4C3F2D21-B70B-4098-9881-B1D0FA6B4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38</c:f>
              <c:numCache>
                <c:formatCode>General</c:formatCode>
                <c:ptCount val="37"/>
                <c:pt idx="0">
                  <c:v>0.35720000000000002</c:v>
                </c:pt>
                <c:pt idx="1">
                  <c:v>0.55130000000000001</c:v>
                </c:pt>
                <c:pt idx="2">
                  <c:v>0.36149999999999999</c:v>
                </c:pt>
                <c:pt idx="3">
                  <c:v>0.53720000000000001</c:v>
                </c:pt>
                <c:pt idx="4">
                  <c:v>0.40649999999999997</c:v>
                </c:pt>
                <c:pt idx="5">
                  <c:v>0.42870000000000003</c:v>
                </c:pt>
                <c:pt idx="6">
                  <c:v>0.34849999999999998</c:v>
                </c:pt>
                <c:pt idx="7">
                  <c:v>0.32590000000000002</c:v>
                </c:pt>
                <c:pt idx="8">
                  <c:v>0.3977</c:v>
                </c:pt>
                <c:pt idx="9">
                  <c:v>0.24640000000000001</c:v>
                </c:pt>
                <c:pt idx="10">
                  <c:v>0.35820000000000002</c:v>
                </c:pt>
                <c:pt idx="11">
                  <c:v>0.32750000000000001</c:v>
                </c:pt>
                <c:pt idx="12">
                  <c:v>0.43259999999999998</c:v>
                </c:pt>
                <c:pt idx="13">
                  <c:v>0.4577</c:v>
                </c:pt>
                <c:pt idx="14">
                  <c:v>0.49909999999999999</c:v>
                </c:pt>
                <c:pt idx="15">
                  <c:v>0.36840000000000001</c:v>
                </c:pt>
                <c:pt idx="16">
                  <c:v>0.3639</c:v>
                </c:pt>
                <c:pt idx="17">
                  <c:v>0.42409999999999998</c:v>
                </c:pt>
                <c:pt idx="18">
                  <c:v>0.49440000000000001</c:v>
                </c:pt>
                <c:pt idx="19">
                  <c:v>0.27950000000000003</c:v>
                </c:pt>
                <c:pt idx="20">
                  <c:v>0.34939999999999999</c:v>
                </c:pt>
                <c:pt idx="21">
                  <c:v>0.47739999999999999</c:v>
                </c:pt>
                <c:pt idx="22">
                  <c:v>0.43070000000000003</c:v>
                </c:pt>
                <c:pt idx="23">
                  <c:v>0.43430000000000002</c:v>
                </c:pt>
                <c:pt idx="24">
                  <c:v>0.38550000000000001</c:v>
                </c:pt>
                <c:pt idx="25">
                  <c:v>0.36380000000000001</c:v>
                </c:pt>
                <c:pt idx="26">
                  <c:v>0.42049999999999998</c:v>
                </c:pt>
                <c:pt idx="27">
                  <c:v>0.4869</c:v>
                </c:pt>
                <c:pt idx="28">
                  <c:v>0.40110000000000001</c:v>
                </c:pt>
                <c:pt idx="29">
                  <c:v>0.39090000000000003</c:v>
                </c:pt>
                <c:pt idx="30">
                  <c:v>0.4027</c:v>
                </c:pt>
                <c:pt idx="31">
                  <c:v>0.38950000000000001</c:v>
                </c:pt>
                <c:pt idx="32">
                  <c:v>0.49390000000000001</c:v>
                </c:pt>
                <c:pt idx="33">
                  <c:v>0.436</c:v>
                </c:pt>
                <c:pt idx="34">
                  <c:v>0.37330000000000002</c:v>
                </c:pt>
                <c:pt idx="35">
                  <c:v>0.4899</c:v>
                </c:pt>
                <c:pt idx="36">
                  <c:v>0.47799999999999998</c:v>
                </c:pt>
              </c:numCache>
            </c:numRef>
          </c:xVal>
          <c:yVal>
            <c:numRef>
              <c:f>Sheet1!$B$2:$B$38</c:f>
              <c:numCache>
                <c:formatCode>General</c:formatCode>
                <c:ptCount val="37"/>
                <c:pt idx="0">
                  <c:v>0.28370000000000001</c:v>
                </c:pt>
                <c:pt idx="1">
                  <c:v>0.26960000000000001</c:v>
                </c:pt>
                <c:pt idx="2">
                  <c:v>0.3201</c:v>
                </c:pt>
                <c:pt idx="3">
                  <c:v>-2.98E-2</c:v>
                </c:pt>
                <c:pt idx="4">
                  <c:v>0.30370000000000003</c:v>
                </c:pt>
                <c:pt idx="5">
                  <c:v>0.30099999999999999</c:v>
                </c:pt>
                <c:pt idx="6">
                  <c:v>0.35210000000000002</c:v>
                </c:pt>
                <c:pt idx="7">
                  <c:v>0.42880000000000001</c:v>
                </c:pt>
                <c:pt idx="8">
                  <c:v>0.39810000000000001</c:v>
                </c:pt>
                <c:pt idx="9">
                  <c:v>0.17280000000000001</c:v>
                </c:pt>
                <c:pt idx="10">
                  <c:v>0.31580000000000003</c:v>
                </c:pt>
                <c:pt idx="11">
                  <c:v>0.26429999999999998</c:v>
                </c:pt>
                <c:pt idx="12">
                  <c:v>0.3831</c:v>
                </c:pt>
                <c:pt idx="13">
                  <c:v>0.3745</c:v>
                </c:pt>
                <c:pt idx="14">
                  <c:v>0.26479999999999998</c:v>
                </c:pt>
                <c:pt idx="15">
                  <c:v>0.42459999999999998</c:v>
                </c:pt>
                <c:pt idx="16">
                  <c:v>0.41860000000000003</c:v>
                </c:pt>
                <c:pt idx="17">
                  <c:v>0.40150000000000002</c:v>
                </c:pt>
                <c:pt idx="18">
                  <c:v>0.34839999999999999</c:v>
                </c:pt>
                <c:pt idx="19">
                  <c:v>0.21079999999999999</c:v>
                </c:pt>
                <c:pt idx="20">
                  <c:v>0.48120000000000002</c:v>
                </c:pt>
                <c:pt idx="21">
                  <c:v>0.33500000000000002</c:v>
                </c:pt>
                <c:pt idx="22">
                  <c:v>0.23860000000000001</c:v>
                </c:pt>
                <c:pt idx="23">
                  <c:v>0.31180000000000002</c:v>
                </c:pt>
                <c:pt idx="24">
                  <c:v>0.30990000000000001</c:v>
                </c:pt>
                <c:pt idx="25">
                  <c:v>0.35339999999999999</c:v>
                </c:pt>
                <c:pt idx="26">
                  <c:v>0.27829999999999999</c:v>
                </c:pt>
                <c:pt idx="27">
                  <c:v>0.1988</c:v>
                </c:pt>
                <c:pt idx="28">
                  <c:v>0.36820000000000003</c:v>
                </c:pt>
                <c:pt idx="29">
                  <c:v>0.34860000000000002</c:v>
                </c:pt>
                <c:pt idx="30">
                  <c:v>0.35220000000000001</c:v>
                </c:pt>
                <c:pt idx="31">
                  <c:v>0.1007</c:v>
                </c:pt>
                <c:pt idx="32">
                  <c:v>0.38869999999999999</c:v>
                </c:pt>
                <c:pt idx="33">
                  <c:v>0.25869999999999999</c:v>
                </c:pt>
                <c:pt idx="34">
                  <c:v>0.22420000000000001</c:v>
                </c:pt>
                <c:pt idx="35">
                  <c:v>0.2535</c:v>
                </c:pt>
                <c:pt idx="36">
                  <c:v>0.26779999999999998</c:v>
                </c:pt>
              </c:numCache>
            </c:numRef>
          </c:yVal>
          <c:bubbleSize>
            <c:numRef>
              <c:f>Sheet1!$C$2:$C$38</c:f>
              <c:numCache>
                <c:formatCode>General</c:formatCode>
                <c:ptCount val="37"/>
                <c:pt idx="0">
                  <c:v>27527.410805300711</c:v>
                </c:pt>
                <c:pt idx="1">
                  <c:v>6740.5301914580259</c:v>
                </c:pt>
                <c:pt idx="2">
                  <c:v>24558.51703406814</c:v>
                </c:pt>
                <c:pt idx="3">
                  <c:v>648.25327510917032</c:v>
                </c:pt>
                <c:pt idx="4">
                  <c:v>10309.23469387755</c:v>
                </c:pt>
                <c:pt idx="5">
                  <c:v>8635.1798561151081</c:v>
                </c:pt>
                <c:pt idx="6">
                  <c:v>43360.813008130077</c:v>
                </c:pt>
                <c:pt idx="7">
                  <c:v>45724.892307692309</c:v>
                </c:pt>
                <c:pt idx="8">
                  <c:v>61730.220440881763</c:v>
                </c:pt>
                <c:pt idx="9">
                  <c:v>1325.194805194805</c:v>
                </c:pt>
                <c:pt idx="10">
                  <c:v>52226.907545164722</c:v>
                </c:pt>
                <c:pt idx="11">
                  <c:v>79341.235480464631</c:v>
                </c:pt>
                <c:pt idx="12">
                  <c:v>10304.161712247331</c:v>
                </c:pt>
                <c:pt idx="13">
                  <c:v>6139.8327359617679</c:v>
                </c:pt>
                <c:pt idx="14">
                  <c:v>481.37096774193537</c:v>
                </c:pt>
                <c:pt idx="15">
                  <c:v>20585.647298674819</c:v>
                </c:pt>
                <c:pt idx="16">
                  <c:v>27675.493562231761</c:v>
                </c:pt>
                <c:pt idx="17">
                  <c:v>14262.722513089009</c:v>
                </c:pt>
                <c:pt idx="18">
                  <c:v>14741.66273584906</c:v>
                </c:pt>
                <c:pt idx="19">
                  <c:v>3357.0257037943702</c:v>
                </c:pt>
                <c:pt idx="20">
                  <c:v>25786.988809766019</c:v>
                </c:pt>
                <c:pt idx="21">
                  <c:v>7090.9286898839136</c:v>
                </c:pt>
                <c:pt idx="22">
                  <c:v>3027.5083798882679</c:v>
                </c:pt>
                <c:pt idx="23">
                  <c:v>11293.564049586779</c:v>
                </c:pt>
                <c:pt idx="24">
                  <c:v>2199.2426035502958</c:v>
                </c:pt>
                <c:pt idx="25">
                  <c:v>1098.2067247820671</c:v>
                </c:pt>
                <c:pt idx="26">
                  <c:v>3335.8687727825031</c:v>
                </c:pt>
                <c:pt idx="27">
                  <c:v>1614.075757575758</c:v>
                </c:pt>
                <c:pt idx="28">
                  <c:v>2730.8923076923079</c:v>
                </c:pt>
                <c:pt idx="29">
                  <c:v>7229.1382978723404</c:v>
                </c:pt>
                <c:pt idx="30">
                  <c:v>11438.093716719921</c:v>
                </c:pt>
                <c:pt idx="31">
                  <c:v>8505.5930232558148</c:v>
                </c:pt>
                <c:pt idx="32">
                  <c:v>5504.0773809523807</c:v>
                </c:pt>
                <c:pt idx="33">
                  <c:v>5809.3564356435636</c:v>
                </c:pt>
                <c:pt idx="34">
                  <c:v>27838.234693877552</c:v>
                </c:pt>
                <c:pt idx="35">
                  <c:v>12471.15303983229</c:v>
                </c:pt>
                <c:pt idx="36">
                  <c:v>1111.304347826087</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La Vache Qui Rit Aro Fromage Fondu Boite Ronde Jambon 1X133Gr 8P</c:v>
                  </c:pt>
                  <c:pt idx="2">
                    <c:v>Boursin Classique Fromage Frais A Tartiner Afh Boite 1X150Gr 1P</c:v>
                  </c:pt>
                  <c:pt idx="3">
                    <c:v>Boursin Classique Fromage Frais A Tartiner Truffe Boite 1X150Gr 1P</c:v>
                  </c:pt>
                  <c:pt idx="4">
                    <c:v>Boursin Classique Fromage Frais A Tartiner Figue Et 3 Noix Boite 1X150Gr 1P</c:v>
                  </c:pt>
                  <c:pt idx="5">
                    <c:v>Boursin Classique Fromage Frais A Tartiner Ciboulette &amp; Echalote Boite 1X150Gr 1P</c:v>
                  </c:pt>
                  <c:pt idx="6">
                    <c:v>Kiri Creme Fromage Blanc Frais Carre 1X432Gr 24P</c:v>
                  </c:pt>
                  <c:pt idx="7">
                    <c:v>Kiri Creme Fromage Blanc Frais Carre 1X216Gr 12P</c:v>
                  </c:pt>
                  <c:pt idx="8">
                    <c:v>La Vache Qui Rit Nature Fromage Fondu Boite Ronde 1X192Gr 12P</c:v>
                  </c:pt>
                  <c:pt idx="9">
                    <c:v>La Vache Qui Rit Nature Fromage Fondu Boite Ronde 1X512Gr 24+8P</c:v>
                  </c:pt>
                  <c:pt idx="10">
                    <c:v>La Vache Qui Rit Nature Fromage Fondu Boite Ronde 1X384Gr 24P</c:v>
                  </c:pt>
                  <c:pt idx="11">
                    <c:v>La Vache Qui Rit Nature Fromage Fondu Boite Ronde 1X512Gr 32P</c:v>
                  </c:pt>
                  <c:pt idx="12">
                    <c:v>La Vache Qui Rit Allegee Fromage Fondu Boite Ronde Allege 1X267Gr 16P</c:v>
                  </c:pt>
                  <c:pt idx="13">
                    <c:v>Kiri Delicieusement Fouette Fromage Frais A Tartiner 1X125Gr 1P</c:v>
                  </c:pt>
                  <c:pt idx="14">
                    <c:v>Kiri Delicieusement Fouette Fromage Frais A Tartiner 1X210Gr 1P</c:v>
                  </c:pt>
                  <c:pt idx="15">
                    <c:v>Kiri Gouter Fromage Blanc Dips Boite 1X175Gr 5P</c:v>
                  </c:pt>
                  <c:pt idx="16">
                    <c:v>Kiri Gouter Fromage Blanc Dips Boite 1X280Gr 8P</c:v>
                  </c:pt>
                  <c:pt idx="17">
                    <c:v>La Vache Qui Rit Pik Et Croq' Fromage Fondu Dips Boite 1X175Gr 5P</c:v>
                  </c:pt>
                  <c:pt idx="18">
                    <c:v>La Vache Qui Rit Pik Et Croq' Fromage Fondu Dips Boite 1X280Gr 8P</c:v>
                  </c:pt>
                  <c:pt idx="19">
                    <c:v>Kiri Creme Fromage Blanc Frais Carre 1X432Gr 18+6P</c:v>
                  </c:pt>
                  <c:pt idx="20">
                    <c:v>Kiri Creme Fromage Blanc Frais Carre 1X144Gr 8P</c:v>
                  </c:pt>
                  <c:pt idx="21">
                    <c:v>Kiri Bio Fromage Blanc Frais Carre 1X144Gr 8P</c:v>
                  </c:pt>
                  <c:pt idx="22">
                    <c:v>Kiri Delicieusement Fouette Fromage Frais A Tartiner 1X160Gr 10P</c:v>
                  </c:pt>
                  <c:pt idx="23">
                    <c:v>Boursin Salade &amp; Aperitif Fromage Frais Des Afh 1X120Gr 1P</c:v>
                  </c:pt>
                  <c:pt idx="24">
                    <c:v>Boursin Salade &amp; Aperitif Fromage Frais Des Figue Noix 1X120Gr 1P</c:v>
                  </c:pt>
                  <c:pt idx="25">
                    <c:v>Boursin Salade &amp; Aperitif Fromage Frais Des Noisette Et 3 Noix 1X120Gr 1P</c:v>
                  </c:pt>
                  <c:pt idx="26">
                    <c:v>Boursin Salade &amp; Aperitif Fromage Frais Des Ciboulette Echalote 1X120Gr 1P</c:v>
                  </c:pt>
                  <c:pt idx="27">
                    <c:v>Boursin Salade &amp; Aperitif Fromage Frais Des Citron Romarin 1X120Gr 1P</c:v>
                  </c:pt>
                  <c:pt idx="28">
                    <c:v>Boursin Classique Fromage Frais A Tartiner Afh Boite 1X80Gr 1P</c:v>
                  </c:pt>
                  <c:pt idx="29">
                    <c:v>Boursin Classique Fromage Frais A Tartiner Poivre Boite 1X150Gr 1P</c:v>
                  </c:pt>
                  <c:pt idx="30">
                    <c:v>Boursin Classique Fromage Frais A Tartiner Afh Boite 1X96Gr 6P</c:v>
                  </c:pt>
                  <c:pt idx="31">
                    <c:v>Boursin Classique Fromage Frais A Tartiner Afh 1X256Gr 16P</c:v>
                  </c:pt>
                  <c:pt idx="32">
                    <c:v>Kiri Chevre Fromage Blanc Frais Carre 1X144Gr 8P</c:v>
                  </c:pt>
                  <c:pt idx="33">
                    <c:v>Boursin Classique Fromage Frais A Tartiner Ciboulette &amp; Echalote 1X160Gr 10P</c:v>
                  </c:pt>
                  <c:pt idx="34">
                    <c:v>Boursin Classique Fromage Frais A Tartiner Afh Boite 1X250Gr 1P</c:v>
                  </c:pt>
                  <c:pt idx="35">
                    <c:v>Boursin Onctueux Fromage Frais A Tartiner Afh 1X125Gr 1P</c:v>
                  </c:pt>
                  <c:pt idx="36">
                    <c:v>Bel Boursin Salade &amp; Aperitif Soft Cheese Salade 1 Ct X 1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DDF2B34-FAFB-4075-A3CA-57B128348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5866EBD8-89DB-4284-A314-BEE81DBB9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A353A37-6B7F-4098-B7C2-DD3325CAE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AE98514-9A51-473F-AC2A-0DE984FE5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1617129-0E89-41F7-8713-F33379E68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90097F2-2526-4E2D-894B-EF93F714E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5E2AFB0-2AF1-42CC-BCBE-598FEB97F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F032EA3-33AD-49BF-B632-417913E93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13D1C14E-B009-4AC8-9DCB-40156483B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7FD44EAE-BA74-401F-93BF-1B58F71C1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314461F-9F5B-4C00-99FE-39234459E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F739B8DB-AE9B-4B70-86E6-8DBC9B6A4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CB078EC-10E2-498B-AFE8-2885867DC2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A36592EF-3387-4DB7-9FCF-7FB16A465B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3C6BD15-419D-464A-86AA-B66A21A32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83612BF1-0540-47B3-9EF6-041B30661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1A535B05-4E66-4510-8494-34BB2C9BF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EFB0A7D-C688-4969-B75C-033C30046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89AD0F2-D749-422E-9860-3A7C90C08C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43D7B78-D607-4BFA-8FE4-C111D3A4C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34F90A2-D9BA-4193-9731-09A2F10FE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D598B98-1741-4902-861F-F7E6374CB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F5E37F00-65E8-46DD-9C33-AC51385AF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13BB17E9-22AF-4B19-B929-F48AFB9FD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97181B3-DEFA-4422-A5DA-10A36296D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A33591B0-8CB1-4242-A30B-49F203C22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2391CDFF-36DE-45C2-BEF6-74B797707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654761F7-FD74-43EF-B186-A236F19A1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40F41D5-F3A0-4D15-9E1C-4D810B109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4583A0D2-8401-4689-A281-F99802F5B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E90144B-E098-44C9-BE85-77418B3CF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170A3576-A10E-4CE8-AF77-A31E85F2D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5697ED9-A23A-4753-AB29-7CE7E8B9A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F36BD1BA-DB67-47DD-A377-72F9F041CA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F9D05E9-E475-41F4-A62A-136EDDACD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85D935FA-4355-4E50-9DDE-4AE1F053B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9BAEE8AA-F035-45C9-95DC-03F6B8472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025A4007-44EF-4BFE-A1A2-0FBC9C074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5F9BD398-FA41-4186-B89E-A43AEB013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E32B623-0801-465E-9A19-EE4401FDD3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6CB5386D-BFA7-4A1A-B9DF-8A0D93686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B2F60715-CDA5-45A2-95DA-5163979A9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0266C84-BDD7-4F8C-9D1E-67EEEECD95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4E58C02B-A5C3-4AAA-A78A-9336D0805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AEE3AE55-1FBD-44F9-BDEC-C766883F2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4543696-55CB-4A74-BC17-ED0914056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8F9785B5-B351-49E2-8044-06B140E97E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B561098D-DEB0-4BB8-844A-44F2F7814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415F9BC0-8428-4143-AFA7-3F695DD59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D8603AA8-2734-42CE-A458-C67C80476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C059A2F0-421B-4499-9545-E8E9FC438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BD6E7237-91F4-41D8-B854-A58467B61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FBEFD7DA-FFB2-475E-8C59-5BC656EC4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4614D024-8510-400D-AD61-8CE83527A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EB3168D2-573D-4DBF-9A14-971E1B52F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D1EFF3EB-DEAB-454B-A0A3-EF51192D7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D61349E0-1D29-4323-8E05-D76B05BA6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46</c:f>
              <c:numCache>
                <c:formatCode>General</c:formatCode>
                <c:ptCount val="45"/>
                <c:pt idx="0">
                  <c:v>0.3483</c:v>
                </c:pt>
                <c:pt idx="1">
                  <c:v>0.43109999999999998</c:v>
                </c:pt>
                <c:pt idx="2">
                  <c:v>0.307</c:v>
                </c:pt>
                <c:pt idx="3">
                  <c:v>0.3422</c:v>
                </c:pt>
                <c:pt idx="4">
                  <c:v>0.3775</c:v>
                </c:pt>
                <c:pt idx="5">
                  <c:v>0.35499999999999998</c:v>
                </c:pt>
                <c:pt idx="6">
                  <c:v>0.34489999999999998</c:v>
                </c:pt>
                <c:pt idx="7">
                  <c:v>0.37940000000000002</c:v>
                </c:pt>
                <c:pt idx="8">
                  <c:v>0.3014</c:v>
                </c:pt>
                <c:pt idx="9">
                  <c:v>0.41099999999999998</c:v>
                </c:pt>
                <c:pt idx="10">
                  <c:v>0.40870000000000001</c:v>
                </c:pt>
                <c:pt idx="11">
                  <c:v>0.25490000000000002</c:v>
                </c:pt>
                <c:pt idx="12">
                  <c:v>0.3306</c:v>
                </c:pt>
                <c:pt idx="13">
                  <c:v>0.3155</c:v>
                </c:pt>
                <c:pt idx="14">
                  <c:v>0.37190000000000001</c:v>
                </c:pt>
                <c:pt idx="15">
                  <c:v>0.41449999999999998</c:v>
                </c:pt>
                <c:pt idx="16">
                  <c:v>0.56910000000000005</c:v>
                </c:pt>
                <c:pt idx="17">
                  <c:v>0.42080000000000001</c:v>
                </c:pt>
                <c:pt idx="18">
                  <c:v>0.40210000000000001</c:v>
                </c:pt>
                <c:pt idx="19">
                  <c:v>0.48430000000000001</c:v>
                </c:pt>
                <c:pt idx="20">
                  <c:v>0.39889999999999998</c:v>
                </c:pt>
                <c:pt idx="21">
                  <c:v>0.33850000000000002</c:v>
                </c:pt>
                <c:pt idx="22">
                  <c:v>0.36270000000000002</c:v>
                </c:pt>
                <c:pt idx="23">
                  <c:v>0.33939999999999998</c:v>
                </c:pt>
                <c:pt idx="24">
                  <c:v>0.2631</c:v>
                </c:pt>
                <c:pt idx="25">
                  <c:v>0.35049999999999998</c:v>
                </c:pt>
                <c:pt idx="26">
                  <c:v>0.35210000000000002</c:v>
                </c:pt>
                <c:pt idx="27">
                  <c:v>0.38840000000000002</c:v>
                </c:pt>
                <c:pt idx="28">
                  <c:v>0.3926</c:v>
                </c:pt>
                <c:pt idx="29">
                  <c:v>0.44700000000000001</c:v>
                </c:pt>
                <c:pt idx="30">
                  <c:v>0.53649999999999998</c:v>
                </c:pt>
                <c:pt idx="31">
                  <c:v>0.4264</c:v>
                </c:pt>
                <c:pt idx="32">
                  <c:v>0.40820000000000001</c:v>
                </c:pt>
                <c:pt idx="33">
                  <c:v>0.31900000000000001</c:v>
                </c:pt>
                <c:pt idx="34">
                  <c:v>0.37180000000000002</c:v>
                </c:pt>
                <c:pt idx="35">
                  <c:v>0.35110000000000002</c:v>
                </c:pt>
                <c:pt idx="36">
                  <c:v>0.24660000000000001</c:v>
                </c:pt>
                <c:pt idx="37">
                  <c:v>0.43590000000000001</c:v>
                </c:pt>
                <c:pt idx="38">
                  <c:v>0.3392</c:v>
                </c:pt>
                <c:pt idx="39">
                  <c:v>0.38400000000000001</c:v>
                </c:pt>
                <c:pt idx="40">
                  <c:v>0.50129999999999997</c:v>
                </c:pt>
                <c:pt idx="41">
                  <c:v>0.52449999999999997</c:v>
                </c:pt>
                <c:pt idx="42">
                  <c:v>0.52400000000000002</c:v>
                </c:pt>
                <c:pt idx="43">
                  <c:v>0.45950000000000002</c:v>
                </c:pt>
                <c:pt idx="44">
                  <c:v>0.38669999999999999</c:v>
                </c:pt>
              </c:numCache>
            </c:numRef>
          </c:xVal>
          <c:yVal>
            <c:numRef>
              <c:f>Sheet1!$B$2:$B$46</c:f>
              <c:numCache>
                <c:formatCode>General</c:formatCode>
                <c:ptCount val="45"/>
                <c:pt idx="0">
                  <c:v>0.33229999999999998</c:v>
                </c:pt>
                <c:pt idx="1">
                  <c:v>0.39789999999999998</c:v>
                </c:pt>
                <c:pt idx="2">
                  <c:v>0.1164</c:v>
                </c:pt>
                <c:pt idx="3">
                  <c:v>0.37059999999999998</c:v>
                </c:pt>
                <c:pt idx="4">
                  <c:v>0.26329999999999998</c:v>
                </c:pt>
                <c:pt idx="5">
                  <c:v>0.34</c:v>
                </c:pt>
                <c:pt idx="6">
                  <c:v>0.3397</c:v>
                </c:pt>
                <c:pt idx="7">
                  <c:v>0.1764</c:v>
                </c:pt>
                <c:pt idx="8">
                  <c:v>0.45519999999999999</c:v>
                </c:pt>
                <c:pt idx="9">
                  <c:v>0.44550000000000001</c:v>
                </c:pt>
                <c:pt idx="10">
                  <c:v>0.438</c:v>
                </c:pt>
                <c:pt idx="11">
                  <c:v>0.1852</c:v>
                </c:pt>
                <c:pt idx="12">
                  <c:v>0.30149999999999999</c:v>
                </c:pt>
                <c:pt idx="13">
                  <c:v>0.14399999999999999</c:v>
                </c:pt>
                <c:pt idx="14">
                  <c:v>0.4461</c:v>
                </c:pt>
                <c:pt idx="15">
                  <c:v>0.49409999999999998</c:v>
                </c:pt>
                <c:pt idx="16">
                  <c:v>0.70169999999999999</c:v>
                </c:pt>
                <c:pt idx="17">
                  <c:v>0.40160000000000001</c:v>
                </c:pt>
                <c:pt idx="18">
                  <c:v>0.3861</c:v>
                </c:pt>
                <c:pt idx="19">
                  <c:v>0.12820000000000001</c:v>
                </c:pt>
                <c:pt idx="20">
                  <c:v>0.37559999999999999</c:v>
                </c:pt>
                <c:pt idx="21">
                  <c:v>0.43509999999999999</c:v>
                </c:pt>
                <c:pt idx="22">
                  <c:v>0.43030000000000002</c:v>
                </c:pt>
                <c:pt idx="23">
                  <c:v>0.46029999999999999</c:v>
                </c:pt>
                <c:pt idx="24">
                  <c:v>0.21809999999999999</c:v>
                </c:pt>
                <c:pt idx="25">
                  <c:v>0.499</c:v>
                </c:pt>
                <c:pt idx="26">
                  <c:v>0.39939999999999998</c:v>
                </c:pt>
                <c:pt idx="27">
                  <c:v>0.32579999999999998</c:v>
                </c:pt>
                <c:pt idx="28">
                  <c:v>0.34379999999999999</c:v>
                </c:pt>
                <c:pt idx="29">
                  <c:v>0.15479999999999999</c:v>
                </c:pt>
                <c:pt idx="30">
                  <c:v>7.4200000000000002E-2</c:v>
                </c:pt>
                <c:pt idx="31">
                  <c:v>0.20549999999999999</c:v>
                </c:pt>
                <c:pt idx="32">
                  <c:v>0.25459999999999999</c:v>
                </c:pt>
                <c:pt idx="33">
                  <c:v>0.39140000000000003</c:v>
                </c:pt>
                <c:pt idx="34">
                  <c:v>0.35070000000000001</c:v>
                </c:pt>
                <c:pt idx="35">
                  <c:v>0.36730000000000002</c:v>
                </c:pt>
                <c:pt idx="36">
                  <c:v>0.2873</c:v>
                </c:pt>
                <c:pt idx="37">
                  <c:v>0.24879999999999999</c:v>
                </c:pt>
                <c:pt idx="38">
                  <c:v>0.2989</c:v>
                </c:pt>
                <c:pt idx="39">
                  <c:v>0.34599999999999997</c:v>
                </c:pt>
                <c:pt idx="40">
                  <c:v>8.1500000000000003E-2</c:v>
                </c:pt>
                <c:pt idx="41">
                  <c:v>8.9099999999999999E-2</c:v>
                </c:pt>
                <c:pt idx="42">
                  <c:v>-1.0999999999999999E-2</c:v>
                </c:pt>
                <c:pt idx="43">
                  <c:v>7.9399999999999998E-2</c:v>
                </c:pt>
                <c:pt idx="44">
                  <c:v>0.28749999999999998</c:v>
                </c:pt>
              </c:numCache>
            </c:numRef>
          </c:yVal>
          <c:bubbleSize>
            <c:numRef>
              <c:f>Sheet1!$C$2:$C$46</c:f>
              <c:numCache>
                <c:formatCode>General</c:formatCode>
                <c:ptCount val="45"/>
                <c:pt idx="0">
                  <c:v>36210.382513661199</c:v>
                </c:pt>
                <c:pt idx="1">
                  <c:v>8120.5405405405409</c:v>
                </c:pt>
                <c:pt idx="2">
                  <c:v>912.44318181818176</c:v>
                </c:pt>
                <c:pt idx="3">
                  <c:v>35111.053719008269</c:v>
                </c:pt>
                <c:pt idx="4">
                  <c:v>956.90802348336592</c:v>
                </c:pt>
                <c:pt idx="5">
                  <c:v>6379.6974063400576</c:v>
                </c:pt>
                <c:pt idx="6">
                  <c:v>8691.4627994955863</c:v>
                </c:pt>
                <c:pt idx="7">
                  <c:v>81394.755784061694</c:v>
                </c:pt>
                <c:pt idx="8">
                  <c:v>42862.613908872903</c:v>
                </c:pt>
                <c:pt idx="9">
                  <c:v>64775.474006116208</c:v>
                </c:pt>
                <c:pt idx="10">
                  <c:v>0</c:v>
                </c:pt>
                <c:pt idx="11">
                  <c:v>19364.593103448271</c:v>
                </c:pt>
                <c:pt idx="12">
                  <c:v>72823.240534521159</c:v>
                </c:pt>
                <c:pt idx="13">
                  <c:v>143117.4607013301</c:v>
                </c:pt>
                <c:pt idx="14">
                  <c:v>7373.9595959595963</c:v>
                </c:pt>
                <c:pt idx="15">
                  <c:v>22077.01729106628</c:v>
                </c:pt>
                <c:pt idx="16">
                  <c:v>29388.75</c:v>
                </c:pt>
                <c:pt idx="17">
                  <c:v>9290.7881136950891</c:v>
                </c:pt>
                <c:pt idx="18">
                  <c:v>7421.5241057542771</c:v>
                </c:pt>
                <c:pt idx="19">
                  <c:v>3280.8506224066391</c:v>
                </c:pt>
                <c:pt idx="20">
                  <c:v>34465.816649104323</c:v>
                </c:pt>
                <c:pt idx="21">
                  <c:v>25172.049180327871</c:v>
                </c:pt>
                <c:pt idx="22">
                  <c:v>19583.832599118941</c:v>
                </c:pt>
                <c:pt idx="23">
                  <c:v>10205.71428571429</c:v>
                </c:pt>
                <c:pt idx="24">
                  <c:v>16379.70670391062</c:v>
                </c:pt>
                <c:pt idx="25">
                  <c:v>47708.959595959597</c:v>
                </c:pt>
                <c:pt idx="26">
                  <c:v>5967.6095617529882</c:v>
                </c:pt>
                <c:pt idx="27">
                  <c:v>5613.8606676342533</c:v>
                </c:pt>
                <c:pt idx="28">
                  <c:v>20726.226611226612</c:v>
                </c:pt>
                <c:pt idx="29">
                  <c:v>4221.7228464419468</c:v>
                </c:pt>
                <c:pt idx="30">
                  <c:v>1752.3170731707321</c:v>
                </c:pt>
                <c:pt idx="31">
                  <c:v>5431.6768665850677</c:v>
                </c:pt>
                <c:pt idx="32">
                  <c:v>2424.0594059405939</c:v>
                </c:pt>
                <c:pt idx="33">
                  <c:v>3167.5167785234898</c:v>
                </c:pt>
                <c:pt idx="34">
                  <c:v>2165.5472636815921</c:v>
                </c:pt>
                <c:pt idx="35">
                  <c:v>11865.907429963459</c:v>
                </c:pt>
                <c:pt idx="36">
                  <c:v>4761.8113207547167</c:v>
                </c:pt>
                <c:pt idx="37">
                  <c:v>1840.8</c:v>
                </c:pt>
                <c:pt idx="38">
                  <c:v>25830.86903304774</c:v>
                </c:pt>
                <c:pt idx="39">
                  <c:v>7665.3875968992243</c:v>
                </c:pt>
                <c:pt idx="40">
                  <c:v>2258.3985765124548</c:v>
                </c:pt>
                <c:pt idx="41">
                  <c:v>502.59259259259261</c:v>
                </c:pt>
                <c:pt idx="42">
                  <c:v>1782.271880819367</c:v>
                </c:pt>
                <c:pt idx="43">
                  <c:v>1204.459102902375</c:v>
                </c:pt>
                <c:pt idx="44">
                  <c:v>1723.954154727794</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La Vache Qui Rit Aro Fromage Fondu Boite Ronde Jambon 1X133Gr 8P</c:v>
                  </c:pt>
                  <c:pt idx="2">
                    <c:v>Boursin Classique Fromage Frais A Tartiner Afh Boite 1X320Gr 16+4P</c:v>
                  </c:pt>
                  <c:pt idx="3">
                    <c:v>Boursin Classique Fromage Frais A Tartiner Afh Boite 1X150Gr 1P</c:v>
                  </c:pt>
                  <c:pt idx="4">
                    <c:v>Boursin Classique Fromage Frais A Tartiner Truffe Boite 1X150Gr 1P</c:v>
                  </c:pt>
                  <c:pt idx="5">
                    <c:v>Boursin Classique Fromage Frais A Tartiner Figue Et 3 Noix Boite 1X150Gr 1P</c:v>
                  </c:pt>
                  <c:pt idx="6">
                    <c:v>Boursin Classique Fromage Frais A Tartiner Ciboulette &amp; Echalote Boite 1X150Gr 1P</c:v>
                  </c:pt>
                  <c:pt idx="7">
                    <c:v>Kiri Creme Fromage Blanc Frais Carre 1X432Gr 24P</c:v>
                  </c:pt>
                  <c:pt idx="8">
                    <c:v>Kiri Creme Fromage Blanc Frais Carre 1X216Gr 12P</c:v>
                  </c:pt>
                  <c:pt idx="9">
                    <c:v>La Vache Qui Rit Nature Fromage Fondu Boite Ronde 1X192Gr 12P</c:v>
                  </c:pt>
                  <c:pt idx="10">
                    <c:v>La Vache Qui Rit Nature Fromage Fondu Boite Ronde 1X256Gr 16P</c:v>
                  </c:pt>
                  <c:pt idx="11">
                    <c:v>La Vache Qui Rit Nature Fromage Fondu Boite Ronde 1X512Gr 24+8P</c:v>
                  </c:pt>
                  <c:pt idx="12">
                    <c:v>La Vache Qui Rit Nature Fromage Fondu Boite Ronde 1X384Gr 24P</c:v>
                  </c:pt>
                  <c:pt idx="13">
                    <c:v>La Vache Qui Rit Nature Fromage Fondu Boite Ronde 1X512Gr 32P</c:v>
                  </c:pt>
                  <c:pt idx="14">
                    <c:v>La Vache Qui Rit Allegee Fromage Fondu Boite Ronde Allege 1X267Gr 16P</c:v>
                  </c:pt>
                  <c:pt idx="15">
                    <c:v>La Vache Qui Rit Nature Fromage Fondu Boite Ronde 1X128Gr 8P</c:v>
                  </c:pt>
                  <c:pt idx="16">
                    <c:v>La Vache Qui Rit Pik Et Croq' Fromage Fondu Dips Boite 1X35Gr 1P</c:v>
                  </c:pt>
                  <c:pt idx="17">
                    <c:v>Kiri Delicieusement Fouette Fromage Frais A Tartiner 1X125Gr 1P</c:v>
                  </c:pt>
                  <c:pt idx="18">
                    <c:v>Kiri Delicieusement Fouette Fromage Frais A Tartiner 1X210Gr 1P</c:v>
                  </c:pt>
                  <c:pt idx="19">
                    <c:v>La Vache Qui Rit Bio Fromage Fondu Boite Ronde 1X128Gr 8P</c:v>
                  </c:pt>
                  <c:pt idx="20">
                    <c:v>Kiri Gouter Fromage Blanc Dips Boite 1X175Gr 5P</c:v>
                  </c:pt>
                  <c:pt idx="21">
                    <c:v>Kiri Gouter Fromage Blanc Dips Boite 1X280Gr 8P</c:v>
                  </c:pt>
                  <c:pt idx="22">
                    <c:v>La Vache Qui Rit Pik Et Croq' Fromage Fondu Dips Boite 1X175Gr 5P</c:v>
                  </c:pt>
                  <c:pt idx="23">
                    <c:v>La Vache Qui Rit Pik Et Croq' Fromage Fondu Dips Boite 1X280Gr 8P</c:v>
                  </c:pt>
                  <c:pt idx="24">
                    <c:v>Kiri Creme Fromage Blanc Frais Carre 1X432Gr 18+6P</c:v>
                  </c:pt>
                  <c:pt idx="25">
                    <c:v>Kiri Creme Fromage Blanc Frais Carre 1X144Gr 8P</c:v>
                  </c:pt>
                  <c:pt idx="26">
                    <c:v>Kiri Bio Fromage Blanc Frais Carre 1X144Gr 8P</c:v>
                  </c:pt>
                  <c:pt idx="27">
                    <c:v>Kiri Delicieusement Fouette Fromage Frais A Tartiner 1X160Gr 10P</c:v>
                  </c:pt>
                  <c:pt idx="28">
                    <c:v>Boursin Salade &amp; Aperitif Fromage Frais Des Afh 1X120Gr 1P</c:v>
                  </c:pt>
                  <c:pt idx="29">
                    <c:v>Boursin Salade &amp; Aperitif Fromage Frais Des Figue Noix 1X120Gr 1P</c:v>
                  </c:pt>
                  <c:pt idx="30">
                    <c:v>Boursin Salade &amp; Aperitif Fromage Frais Des Noisette Et 3 Noix 1X120Gr 1P</c:v>
                  </c:pt>
                  <c:pt idx="31">
                    <c:v>Boursin Salade &amp; Aperitif Fromage Frais Des Ciboulette Echalote 1X120Gr 1P</c:v>
                  </c:pt>
                  <c:pt idx="32">
                    <c:v>Boursin Salade &amp; Aperitif Fromage Frais Des Citron Romarin 1X120Gr 1P</c:v>
                  </c:pt>
                  <c:pt idx="33">
                    <c:v>Boursin Classique Fromage Frais A Tartiner Afh Boite 1X80Gr 1P</c:v>
                  </c:pt>
                  <c:pt idx="34">
                    <c:v>Boursin Classique Fromage Frais A Tartiner Poivre Boite 1X150Gr 1P</c:v>
                  </c:pt>
                  <c:pt idx="35">
                    <c:v>Boursin Classique Fromage Frais A Tartiner Afh Boite 1X96Gr 6P</c:v>
                  </c:pt>
                  <c:pt idx="36">
                    <c:v>Boursin Classique Fromage Frais A Tartiner Afh 1X256Gr 16P</c:v>
                  </c:pt>
                  <c:pt idx="37">
                    <c:v>Boursin Classique Fromage Frais A Tartiner Ciboulette &amp; Echalote 1X160Gr 10P</c:v>
                  </c:pt>
                  <c:pt idx="38">
                    <c:v>Boursin Classique Fromage Frais A Tartiner Afh Boite 1X250Gr 1P</c:v>
                  </c:pt>
                  <c:pt idx="39">
                    <c:v>Boursin Onctueux Fromage Frais A Tartiner Afh 1X125Gr 1P</c:v>
                  </c:pt>
                  <c:pt idx="40">
                    <c:v>Boursin Onctueux Fromage Frais A Tartiner Afh 1X210Gr 1P</c:v>
                  </c:pt>
                  <c:pt idx="41">
                    <c:v>Boursin Classique Fromage Frais A Tartiner Citron &amp; Romarin Boite 1X150Gr 1P</c:v>
                  </c:pt>
                  <c:pt idx="42">
                    <c:v>Boursin Classique Fromage Frais A Tartiner 3 Noix Boite 1X150Gr 1P</c:v>
                  </c:pt>
                  <c:pt idx="43">
                    <c:v>Boursin Classique Fromage Frais A Tartiner 3 Noix 1X160Gr 10P</c:v>
                  </c:pt>
                  <c:pt idx="44">
                    <c:v>Bel Boursin Salade &amp; Aperitif Soft Cheese Salade 1 Ct X 1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C1BA4E79-681E-4106-9C08-77FB8FA6C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91206E1-368B-46B7-A281-A2408B21D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88F26865-90B8-45BB-9497-185641ECE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9892D09-C7BF-4044-8217-5939A90EF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F98349B5-13D1-44BE-BB00-CFDC1C1A8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C651BDA7-A09A-4599-8D65-8D353F390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E55D48E-710C-428E-A8D7-07B9FECA0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AF7B777-B4B0-482D-9C40-6C4D85367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7DEA57B-C97D-4E19-BA59-9AC7A0BA4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41E2BAE5-65A8-4E84-A816-B2CF38076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0E3B86D4-DADD-4B45-B50E-27D9A509A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82DE3800-6FF8-4A48-90B2-8D11538AC8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A5C2D245-75D8-45C6-B908-925B5F2E0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057BCFC-7F3C-430A-B9B7-964229DB48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7DD0AE3-D60C-4809-AD07-70DAC3D85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44E1CD2-E8C7-4934-9131-4B5348EA2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4AF1FB5A-CD5F-42D5-BFCA-8EB631A770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3D26B338-8893-4396-B1A2-B78F34192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0F06984F-991E-40BB-9C4A-0393456F2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2C84ACB4-B091-4E01-A1AA-157BCB4E0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C60B7DB-AFB3-45D2-A9D3-B4898646C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70B0A2EA-F3C9-4EA4-8120-9B67BDB5B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08480BEA-6817-4B60-937A-AACBA64EA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8E238000-E2AB-4711-88B7-2B63904E6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88C7DED5-EC91-4A23-8ED7-8E171BC56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A92CD2AA-9DE8-4057-BA8E-7A3EE342A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90D355D-A907-41D1-8DB2-712FC44BC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9F4EB03C-2642-413D-B7FE-485ECECAFA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8B20FC53-B514-492B-96AE-58B4A812C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2D1AAC7E-1122-4D74-B4BD-4314D1154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E261C078-D8E1-4CD9-90BA-AC6D0DB00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91998F91-47E3-4D23-A86B-83E3805D7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BA4F792-C063-4942-BF72-4A489E294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C1510C7-ED8C-42B4-978A-75A12A435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6E3B2FA8-33F6-4933-838E-AEE3FDD5F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4B21A159-A87A-43F4-8D86-70B2810E8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AFFE3DA2-83B5-4AB0-BB3A-C5B56925B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CC57AF1C-59B2-4710-B4D1-4E8F518D5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A05762BC-8007-4F3E-A4A1-14F2AEDF7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ADE12A57-9C07-4EE8-B184-D8EDCF321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E939C58C-0006-40E3-BE6F-C6CEDAE76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FD7D9FAB-A8C9-42F2-8F28-316B1D8DC6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E49D4A4A-5075-4149-8BDA-3C25201BD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BE2ABCB2-E667-46E6-B344-0826D0AC7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10C8DC57-4019-43F1-8312-164FB9D51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887D570D-06AE-4BA9-B110-C48837A7AD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5ED9AF4C-F6CD-4B1F-B65F-653CC39B5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8DC368A0-E1C6-4619-A169-958A09BBF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925726C7-A9E3-4467-BBB9-40CF10613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4806FF28-5C03-4809-9A4F-790E92AF4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FBED81F9-6748-4C26-B9B5-2E65368E7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05F1CC10-7890-4E66-ACD6-5543C86C4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522E7F1D-C4A0-49A8-BDDF-5A4B0EC63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D6BBF509-5F37-43D4-945D-F4F202D7C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55ED0B31-BFFB-4CFA-B6E9-8E6D07430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2E072B79-2A78-4899-89E4-93C1C5C17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3BDAA642-0783-4151-85FD-BFCEE5859B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21</c:f>
              <c:numCache>
                <c:formatCode>General</c:formatCode>
                <c:ptCount val="20"/>
                <c:pt idx="0">
                  <c:v>0.3483</c:v>
                </c:pt>
                <c:pt idx="1">
                  <c:v>0.307</c:v>
                </c:pt>
                <c:pt idx="2">
                  <c:v>0.3422</c:v>
                </c:pt>
                <c:pt idx="3">
                  <c:v>0.3775</c:v>
                </c:pt>
                <c:pt idx="4">
                  <c:v>0.35499999999999998</c:v>
                </c:pt>
                <c:pt idx="5">
                  <c:v>0.34489999999999998</c:v>
                </c:pt>
                <c:pt idx="6">
                  <c:v>0.42080000000000001</c:v>
                </c:pt>
                <c:pt idx="7">
                  <c:v>0.40210000000000001</c:v>
                </c:pt>
                <c:pt idx="8">
                  <c:v>0.38840000000000002</c:v>
                </c:pt>
                <c:pt idx="9">
                  <c:v>0.31900000000000001</c:v>
                </c:pt>
                <c:pt idx="10">
                  <c:v>0.37180000000000002</c:v>
                </c:pt>
                <c:pt idx="11">
                  <c:v>0.35110000000000002</c:v>
                </c:pt>
                <c:pt idx="12">
                  <c:v>0.24660000000000001</c:v>
                </c:pt>
                <c:pt idx="13">
                  <c:v>0.43590000000000001</c:v>
                </c:pt>
                <c:pt idx="14">
                  <c:v>0.3392</c:v>
                </c:pt>
                <c:pt idx="15">
                  <c:v>0.38400000000000001</c:v>
                </c:pt>
                <c:pt idx="16">
                  <c:v>0.50129999999999997</c:v>
                </c:pt>
                <c:pt idx="17">
                  <c:v>0.52449999999999997</c:v>
                </c:pt>
                <c:pt idx="18">
                  <c:v>0.52400000000000002</c:v>
                </c:pt>
                <c:pt idx="19">
                  <c:v>0.45950000000000002</c:v>
                </c:pt>
              </c:numCache>
            </c:numRef>
          </c:xVal>
          <c:yVal>
            <c:numRef>
              <c:f>Sheet1!$B$2:$B$21</c:f>
              <c:numCache>
                <c:formatCode>General</c:formatCode>
                <c:ptCount val="20"/>
                <c:pt idx="0">
                  <c:v>0.33229999999999998</c:v>
                </c:pt>
                <c:pt idx="1">
                  <c:v>0.1164</c:v>
                </c:pt>
                <c:pt idx="2">
                  <c:v>0.37059999999999998</c:v>
                </c:pt>
                <c:pt idx="3">
                  <c:v>0.26329999999999998</c:v>
                </c:pt>
                <c:pt idx="4">
                  <c:v>0.34</c:v>
                </c:pt>
                <c:pt idx="5">
                  <c:v>0.3397</c:v>
                </c:pt>
                <c:pt idx="6">
                  <c:v>0.40160000000000001</c:v>
                </c:pt>
                <c:pt idx="7">
                  <c:v>0.3861</c:v>
                </c:pt>
                <c:pt idx="8">
                  <c:v>0.32579999999999998</c:v>
                </c:pt>
                <c:pt idx="9">
                  <c:v>0.39140000000000003</c:v>
                </c:pt>
                <c:pt idx="10">
                  <c:v>0.35070000000000001</c:v>
                </c:pt>
                <c:pt idx="11">
                  <c:v>0.36730000000000002</c:v>
                </c:pt>
                <c:pt idx="12">
                  <c:v>0.2873</c:v>
                </c:pt>
                <c:pt idx="13">
                  <c:v>0.24879999999999999</c:v>
                </c:pt>
                <c:pt idx="14">
                  <c:v>0.2989</c:v>
                </c:pt>
                <c:pt idx="15">
                  <c:v>0.34599999999999997</c:v>
                </c:pt>
                <c:pt idx="16">
                  <c:v>8.1500000000000003E-2</c:v>
                </c:pt>
                <c:pt idx="17">
                  <c:v>8.9099999999999999E-2</c:v>
                </c:pt>
                <c:pt idx="18">
                  <c:v>-1.0999999999999999E-2</c:v>
                </c:pt>
                <c:pt idx="19">
                  <c:v>7.9399999999999998E-2</c:v>
                </c:pt>
              </c:numCache>
            </c:numRef>
          </c:yVal>
          <c:bubbleSize>
            <c:numRef>
              <c:f>Sheet1!$C$2:$C$21</c:f>
              <c:numCache>
                <c:formatCode>General</c:formatCode>
                <c:ptCount val="20"/>
                <c:pt idx="0">
                  <c:v>36210.382513661199</c:v>
                </c:pt>
                <c:pt idx="1">
                  <c:v>912.44318181818176</c:v>
                </c:pt>
                <c:pt idx="2">
                  <c:v>35111.053719008269</c:v>
                </c:pt>
                <c:pt idx="3">
                  <c:v>956.90802348336592</c:v>
                </c:pt>
                <c:pt idx="4">
                  <c:v>6379.6974063400576</c:v>
                </c:pt>
                <c:pt idx="5">
                  <c:v>8691.4627994955863</c:v>
                </c:pt>
                <c:pt idx="6">
                  <c:v>9290.7881136950891</c:v>
                </c:pt>
                <c:pt idx="7">
                  <c:v>7421.5241057542771</c:v>
                </c:pt>
                <c:pt idx="8">
                  <c:v>5613.8606676342533</c:v>
                </c:pt>
                <c:pt idx="9">
                  <c:v>3167.5167785234898</c:v>
                </c:pt>
                <c:pt idx="10">
                  <c:v>2165.5472636815921</c:v>
                </c:pt>
                <c:pt idx="11">
                  <c:v>11865.907429963459</c:v>
                </c:pt>
                <c:pt idx="12">
                  <c:v>4761.8113207547167</c:v>
                </c:pt>
                <c:pt idx="13">
                  <c:v>1840.8</c:v>
                </c:pt>
                <c:pt idx="14">
                  <c:v>25830.86903304774</c:v>
                </c:pt>
                <c:pt idx="15">
                  <c:v>7665.3875968992243</c:v>
                </c:pt>
                <c:pt idx="16">
                  <c:v>2258.3985765124548</c:v>
                </c:pt>
                <c:pt idx="17">
                  <c:v>502.59259259259261</c:v>
                </c:pt>
                <c:pt idx="18">
                  <c:v>1782.271880819367</c:v>
                </c:pt>
                <c:pt idx="19">
                  <c:v>1204.459102902375</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Boursin Classique Fromage Frais A Tartiner Afh Boite 1X320Gr 16+4P</c:v>
                  </c:pt>
                  <c:pt idx="2">
                    <c:v>Boursin Classique Fromage Frais A Tartiner Afh Boite 1X150Gr 1P</c:v>
                  </c:pt>
                  <c:pt idx="3">
                    <c:v>Boursin Classique Fromage Frais A Tartiner Truffe Boite 1X150Gr 1P</c:v>
                  </c:pt>
                  <c:pt idx="4">
                    <c:v>Boursin Classique Fromage Frais A Tartiner Figue Et 3 Noix Boite 1X150Gr 1P</c:v>
                  </c:pt>
                  <c:pt idx="5">
                    <c:v>Boursin Classique Fromage Frais A Tartiner Ciboulette &amp; Echalote Boite 1X150Gr 1P</c:v>
                  </c:pt>
                  <c:pt idx="6">
                    <c:v>Kiri Delicieusement Fouette Fromage Frais A Tartiner 1X125Gr 1P</c:v>
                  </c:pt>
                  <c:pt idx="7">
                    <c:v>Kiri Delicieusement Fouette Fromage Frais A Tartiner 1X210Gr 1P</c:v>
                  </c:pt>
                  <c:pt idx="8">
                    <c:v>Kiri Delicieusement Fouette Fromage Frais A Tartiner 1X160Gr 10P</c:v>
                  </c:pt>
                  <c:pt idx="9">
                    <c:v>Boursin Classique Fromage Frais A Tartiner Afh Boite 1X80Gr 1P</c:v>
                  </c:pt>
                  <c:pt idx="10">
                    <c:v>Boursin Classique Fromage Frais A Tartiner Poivre Boite 1X150Gr 1P</c:v>
                  </c:pt>
                  <c:pt idx="11">
                    <c:v>Boursin Classique Fromage Frais A Tartiner Afh Boite 1X96Gr 6P</c:v>
                  </c:pt>
                  <c:pt idx="12">
                    <c:v>Boursin Classique Fromage Frais A Tartiner Afh 1X256Gr 16P</c:v>
                  </c:pt>
                  <c:pt idx="13">
                    <c:v>Boursin Classique Fromage Frais A Tartiner Ciboulette &amp; Echalote 1X160Gr 10P</c:v>
                  </c:pt>
                  <c:pt idx="14">
                    <c:v>Boursin Classique Fromage Frais A Tartiner Afh Boite 1X250Gr 1P</c:v>
                  </c:pt>
                  <c:pt idx="15">
                    <c:v>Boursin Onctueux Fromage Frais A Tartiner Afh 1X125Gr 1P</c:v>
                  </c:pt>
                  <c:pt idx="16">
                    <c:v>Boursin Onctueux Fromage Frais A Tartiner Afh 1X210Gr 1P</c:v>
                  </c:pt>
                  <c:pt idx="17">
                    <c:v>Boursin Classique Fromage Frais A Tartiner Citron &amp; Romarin Boite 1X150Gr 1P</c:v>
                  </c:pt>
                  <c:pt idx="18">
                    <c:v>Boursin Classique Fromage Frais A Tartiner 3 Noix Boite 1X150Gr 1P</c:v>
                  </c:pt>
                  <c:pt idx="19">
                    <c:v>Boursin Classique Fromage Frais A Tartiner 3 Noix 1X160Gr 10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E93725A-D2B2-4FEE-8B6F-D2ECE1E72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9068E3F-B6FC-457F-AD9A-8B36B634A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F510B4F-4BA8-48DC-AFF7-14C439514B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37B0D97-65FF-4DB6-9B44-2C0E48C8A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648120F-BB7B-4E09-BA6E-AD3554D10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DE76450-9D88-4A59-B95B-696C7F723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C85547C-E4C9-4299-A64D-046073041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00DB43FB-D1AC-4396-A3ED-8A559460D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ACE7303C-AB14-4A1A-A1EA-94796B4C9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6607BD38-FF35-411A-92B3-25C18DF2A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04AD0196-111E-46D8-B52F-96A6A7AEA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5829D86A-415C-4ADE-A6E3-541647BF2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D1ACBB8B-2876-4DE9-8B9D-3FEBB8F6B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52DB0B6D-E884-4E5E-AD96-80053DBE2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1CBD0A4A-2B3B-46D5-93AA-596BFD13F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31622CB3-ECF6-4374-B659-9BD28884B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109ABF4B-407A-4A86-876A-8EAB7594D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BC616555-8BB0-49C6-9A9B-1E01EFB28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1C0C5D91-026E-438E-AD5B-E85011260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26D74699-D51D-42B8-8E1D-DF1FDB667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E5E59EB3-15E7-498F-B3EF-3C238B1B1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74FD4752-6445-467E-9B84-9DEE567B3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B3BE9E5E-1A83-49CD-AC1C-51A4D0342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40ACF307-93E9-478C-9CCD-5CD682479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ADAB9571-0DE8-412D-94A1-C413002C9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409674C0-5807-4825-B1CE-74589A791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7C28BF8E-BECD-4D46-AB7D-FE83CB78D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212FFBF-4985-4C26-969E-F16836923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6ED684CA-2943-4BF5-91EF-48D82E8DD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F042A63F-6CB8-4C51-918F-B7BF5B7D2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CA25E778-92DF-4460-88B0-D4DC5260E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046C36D2-FDC7-4944-B2AD-D03C3A592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3BC72C6-C1CF-40F5-8CD5-0B01B0FEF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897E0224-25FA-4A76-8DBA-06DD26485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BB486358-8818-4168-BC98-D33D73CE9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BE8DFE7F-F1D6-48FE-ACA9-3C01320D6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2336260C-C3C5-4DC1-A06C-770B73939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DADF4D5F-263A-469D-9B29-0C4248779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7DDBB3E5-C722-4499-8091-40F144E023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29F4CB83-1315-4404-96AA-970F769EC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6C9FD87B-7A58-421E-8F6B-21A263FBF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4EE78811-D600-4055-AE3A-28EEFB047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C6407C0C-8657-445E-B2C5-6F0DA3FC1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6C171731-7FD1-4E3C-9120-8C8F8FB7D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44B8FF61-2CFB-4C20-B893-533912763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DA7ACB18-A867-45E3-BEB0-3EA5A4894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BCDFA37E-22E6-404C-B6DB-97C8F20F4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12868C91-5E2F-4FC3-BDD7-4312F5FF0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50989160-5609-4F38-BD2A-5B59480B3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273948B2-76C9-4A69-82D9-658B739D5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7343ABA9-42FC-4391-8FCC-CCF77C77B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CB43D02E-653C-40A1-89D9-391B07396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AEB79241-A74B-4AA2-A9A6-94F05EE0F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678B6E8B-4CF0-4718-BDFD-050C7EA11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CF259454-5FD2-42C4-97FA-BA759D306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5E58951E-761F-4E6E-977F-8DE73DB023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DEB0DDE0-87D7-4789-B3E4-9246A14E6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3926</c:v>
                </c:pt>
                <c:pt idx="1">
                  <c:v>0.44700000000000001</c:v>
                </c:pt>
                <c:pt idx="2">
                  <c:v>0.53649999999999998</c:v>
                </c:pt>
                <c:pt idx="3">
                  <c:v>0.4264</c:v>
                </c:pt>
                <c:pt idx="4">
                  <c:v>0.40820000000000001</c:v>
                </c:pt>
                <c:pt idx="5">
                  <c:v>0.38669999999999999</c:v>
                </c:pt>
              </c:numCache>
            </c:numRef>
          </c:xVal>
          <c:yVal>
            <c:numRef>
              <c:f>Sheet1!$B$2:$B$7</c:f>
              <c:numCache>
                <c:formatCode>General</c:formatCode>
                <c:ptCount val="6"/>
                <c:pt idx="0">
                  <c:v>0.34379999999999999</c:v>
                </c:pt>
                <c:pt idx="1">
                  <c:v>0.15479999999999999</c:v>
                </c:pt>
                <c:pt idx="2">
                  <c:v>7.4200000000000002E-2</c:v>
                </c:pt>
                <c:pt idx="3">
                  <c:v>0.20549999999999999</c:v>
                </c:pt>
                <c:pt idx="4">
                  <c:v>0.25459999999999999</c:v>
                </c:pt>
                <c:pt idx="5">
                  <c:v>0.28749999999999998</c:v>
                </c:pt>
              </c:numCache>
            </c:numRef>
          </c:yVal>
          <c:bubbleSize>
            <c:numRef>
              <c:f>Sheet1!$C$2:$C$7</c:f>
              <c:numCache>
                <c:formatCode>General</c:formatCode>
                <c:ptCount val="6"/>
                <c:pt idx="0">
                  <c:v>20726.226611226612</c:v>
                </c:pt>
                <c:pt idx="1">
                  <c:v>4221.7228464419468</c:v>
                </c:pt>
                <c:pt idx="2">
                  <c:v>1752.3170731707321</c:v>
                </c:pt>
                <c:pt idx="3">
                  <c:v>5431.6768665850677</c:v>
                </c:pt>
                <c:pt idx="4">
                  <c:v>2424.0594059405939</c:v>
                </c:pt>
                <c:pt idx="5">
                  <c:v>1723.954154727794</c:v>
                </c:pt>
              </c:numCache>
            </c:numRef>
          </c:bubbleSize>
          <c:bubble3D val="0"/>
          <c:extLst>
            <c:ext xmlns:c15="http://schemas.microsoft.com/office/drawing/2012/chart" uri="{02D57815-91ED-43cb-92C2-25804820EDAC}">
              <c15:datalabelsRange>
                <c15:f>Sheet1!$E$2:$E$58</c15:f>
                <c15:dlblRangeCache>
                  <c:ptCount val="57"/>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el Boursin Salade &amp; Aperitif Soft Cheese Salade 1 Ct X 1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236BF78A-1F75-465E-ADD8-90EBA2288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FE168F06-AC63-4915-AEDA-F9BEC8261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DDAA417D-F552-403C-A0BC-D1AE6C007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F76D354-B8BB-44E3-8546-00E572F16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597DAC1-4306-4A8B-B62C-A2A505CD3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3F058BD3-CD30-46FA-9A3B-35B361EEC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96B35BD-80EB-4F1B-A332-547DE6EFE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BB5578B-6EE4-4C22-A1B3-4D438AFC1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2CDEDEEF-E8B0-4BD8-BCCA-41B9ECA4D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2434592-BC63-4DE1-AC37-B65A89936B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5F70DFB-67C8-40E9-BF73-70C899EAD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91DCD5A-6F81-4E5D-B996-3D9479422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F633504C-C0CC-4543-B28B-7AE915974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CAB14C4-65D6-4339-8F63-3E3F232DA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CEC0378C-FA5C-40E9-B7BF-94125FBC8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F433CC43-73FC-4057-A86A-449009799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E3350B6B-A391-4234-B56D-DBA5F9B9E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2D48F0C0-C10D-47AB-8A5E-67767A99C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0E3E2046-360C-44E8-BF5E-13B55435D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5748835F-504F-42DA-85A3-13BEB6202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128D96DD-62CD-4DD1-BA62-431A9443A2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8780FB2F-CFAD-4E90-BB22-CBC9C1030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8F404C26-058D-44FA-A6E8-8CB01505B4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5917580A-2BB2-48A5-BCF2-F6D9A2117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4387FEB4-9DF6-44C1-A1C1-03B572F5D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D1234402-0DBA-4E59-B155-E288C7E77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5199BF71-9666-4DA7-AE21-C75B03305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C1B23A81-CFD2-40DA-A03C-1A2057AE7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19D14906-1BCD-4969-91E2-2E0B0DE07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079803DD-68AC-482E-AE54-CB6E88A97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F7CBE646-9074-4DDC-87A5-C5EE85551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632FB8FB-7D89-430F-8567-FA7601917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CBF097EC-E70E-49B0-B83B-92D1DEBE7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9F5B5D0-9BD1-4601-8EC1-39F913556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C0F5E6BD-F96C-4760-8FF0-0E98E8B90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8B76B6E2-67CC-4D08-8646-54D8CB594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36B1CF00-7365-4E6E-9D07-F30952A9D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BE3B690E-EF60-4DF0-8B7A-17C0B5608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9D1DBE88-8205-40FD-A090-D58B18D52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DAD1AE67-7E38-444D-85C8-05E4FDECD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1D90DFEF-E839-4873-A62D-75DB59FAB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C0D15B25-4296-4098-9CBE-40F2363A0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5B88C778-D42E-483E-A15C-3467608A6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2CF6A832-0BB3-4C7A-9FF9-EB0F3623B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E856FF7-9290-44B0-ADCF-826970C4E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52AF48BB-3698-426A-94BC-520485983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150D3CBD-F670-4416-8873-9F3FF8208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9F06E8D0-6A4A-4ED3-B9DC-F02A7FB1E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291F041D-7768-49EE-A779-4D92393C5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127A3CA0-0F6B-4717-BDC0-942A5DF20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DD887E92-3F5B-40BA-AEEA-16CD529EC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35D2D48B-AD3E-4CED-9671-D6C3C49219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E29054C9-5D8F-421E-807F-AE59D9004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188F5DCC-B1D2-4312-91E4-13B30409EE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1B4DEA8B-4917-4520-B1E5-9E4D2BBCB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B261FDBD-E78F-4EA9-A6A7-A3978235B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0E94C02B-624F-4D25-86C8-A48F14ECB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6</c:f>
              <c:numCache>
                <c:formatCode>General</c:formatCode>
                <c:ptCount val="15"/>
                <c:pt idx="0">
                  <c:v>0.35720000000000002</c:v>
                </c:pt>
                <c:pt idx="1">
                  <c:v>0.36149999999999999</c:v>
                </c:pt>
                <c:pt idx="2">
                  <c:v>0.53720000000000001</c:v>
                </c:pt>
                <c:pt idx="3">
                  <c:v>0.40649999999999997</c:v>
                </c:pt>
                <c:pt idx="4">
                  <c:v>0.42870000000000003</c:v>
                </c:pt>
                <c:pt idx="5">
                  <c:v>0.4577</c:v>
                </c:pt>
                <c:pt idx="6">
                  <c:v>0.49909999999999999</c:v>
                </c:pt>
                <c:pt idx="7">
                  <c:v>0.43070000000000003</c:v>
                </c:pt>
                <c:pt idx="8">
                  <c:v>0.40110000000000001</c:v>
                </c:pt>
                <c:pt idx="9">
                  <c:v>0.39090000000000003</c:v>
                </c:pt>
                <c:pt idx="10">
                  <c:v>0.4027</c:v>
                </c:pt>
                <c:pt idx="11">
                  <c:v>0.38950000000000001</c:v>
                </c:pt>
                <c:pt idx="12">
                  <c:v>0.436</c:v>
                </c:pt>
                <c:pt idx="13">
                  <c:v>0.37330000000000002</c:v>
                </c:pt>
                <c:pt idx="14">
                  <c:v>0.4899</c:v>
                </c:pt>
              </c:numCache>
            </c:numRef>
          </c:xVal>
          <c:yVal>
            <c:numRef>
              <c:f>Sheet1!$B$2:$B$16</c:f>
              <c:numCache>
                <c:formatCode>General</c:formatCode>
                <c:ptCount val="15"/>
                <c:pt idx="0">
                  <c:v>0.28370000000000001</c:v>
                </c:pt>
                <c:pt idx="1">
                  <c:v>0.3201</c:v>
                </c:pt>
                <c:pt idx="2">
                  <c:v>-2.98E-2</c:v>
                </c:pt>
                <c:pt idx="3">
                  <c:v>0.30370000000000003</c:v>
                </c:pt>
                <c:pt idx="4">
                  <c:v>0.30099999999999999</c:v>
                </c:pt>
                <c:pt idx="5">
                  <c:v>0.3745</c:v>
                </c:pt>
                <c:pt idx="6">
                  <c:v>0.26479999999999998</c:v>
                </c:pt>
                <c:pt idx="7">
                  <c:v>0.23860000000000001</c:v>
                </c:pt>
                <c:pt idx="8">
                  <c:v>0.36820000000000003</c:v>
                </c:pt>
                <c:pt idx="9">
                  <c:v>0.34860000000000002</c:v>
                </c:pt>
                <c:pt idx="10">
                  <c:v>0.35220000000000001</c:v>
                </c:pt>
                <c:pt idx="11">
                  <c:v>0.1007</c:v>
                </c:pt>
                <c:pt idx="12">
                  <c:v>0.25869999999999999</c:v>
                </c:pt>
                <c:pt idx="13">
                  <c:v>0.22420000000000001</c:v>
                </c:pt>
                <c:pt idx="14">
                  <c:v>0.2535</c:v>
                </c:pt>
              </c:numCache>
            </c:numRef>
          </c:yVal>
          <c:bubbleSize>
            <c:numRef>
              <c:f>Sheet1!$C$2:$C$16</c:f>
              <c:numCache>
                <c:formatCode>General</c:formatCode>
                <c:ptCount val="15"/>
                <c:pt idx="0">
                  <c:v>27527.410805300711</c:v>
                </c:pt>
                <c:pt idx="1">
                  <c:v>24558.51703406814</c:v>
                </c:pt>
                <c:pt idx="2">
                  <c:v>648.25327510917032</c:v>
                </c:pt>
                <c:pt idx="3">
                  <c:v>10309.23469387755</c:v>
                </c:pt>
                <c:pt idx="4">
                  <c:v>8635.1798561151081</c:v>
                </c:pt>
                <c:pt idx="5">
                  <c:v>6139.8327359617679</c:v>
                </c:pt>
                <c:pt idx="6">
                  <c:v>481.37096774193537</c:v>
                </c:pt>
                <c:pt idx="7">
                  <c:v>3027.5083798882679</c:v>
                </c:pt>
                <c:pt idx="8">
                  <c:v>2730.8923076923079</c:v>
                </c:pt>
                <c:pt idx="9">
                  <c:v>7229.1382978723404</c:v>
                </c:pt>
                <c:pt idx="10">
                  <c:v>11438.093716719921</c:v>
                </c:pt>
                <c:pt idx="11">
                  <c:v>8505.5930232558148</c:v>
                </c:pt>
                <c:pt idx="12">
                  <c:v>5809.3564356435636</c:v>
                </c:pt>
                <c:pt idx="13">
                  <c:v>27838.234693877552</c:v>
                </c:pt>
                <c:pt idx="14">
                  <c:v>12471.15303983229</c:v>
                </c:pt>
              </c:numCache>
            </c:numRef>
          </c:bubbleSize>
          <c:bubble3D val="0"/>
          <c:extLst>
            <c:ext xmlns:c15="http://schemas.microsoft.com/office/drawing/2012/chart" uri="{02D57815-91ED-43cb-92C2-25804820EDAC}">
              <c15:datalabelsRange>
                <c15:f>Sheet1!$E$2:$E$58</c15:f>
                <c15:dlblRangeCache>
                  <c:ptCount val="57"/>
                  <c:pt idx="0">
                    <c:v>Boursin Classique Fromage Frais A Tartiner Afh 1X160Gr 10P</c:v>
                  </c:pt>
                  <c:pt idx="1">
                    <c:v>Boursin Classique Fromage Frais A Tartiner Afh Boite 1X150Gr 1P</c:v>
                  </c:pt>
                  <c:pt idx="2">
                    <c:v>Boursin Classique Fromage Frais A Tartiner Truffe Boite 1X150Gr 1P</c:v>
                  </c:pt>
                  <c:pt idx="3">
                    <c:v>Boursin Classique Fromage Frais A Tartiner Figue Et 3 Noix Boite 1X150Gr 1P</c:v>
                  </c:pt>
                  <c:pt idx="4">
                    <c:v>Boursin Classique Fromage Frais A Tartiner Ciboulette &amp; Echalote Boite 1X150Gr 1P</c:v>
                  </c:pt>
                  <c:pt idx="5">
                    <c:v>Kiri Delicieusement Fouette Fromage Frais A Tartiner 1X125Gr 1P</c:v>
                  </c:pt>
                  <c:pt idx="6">
                    <c:v>Kiri Delicieusement Fouette Fromage Frais A Tartiner 1X210Gr 1P</c:v>
                  </c:pt>
                  <c:pt idx="7">
                    <c:v>Kiri Delicieusement Fouette Fromage Frais A Tartiner 1X160Gr 10P</c:v>
                  </c:pt>
                  <c:pt idx="8">
                    <c:v>Boursin Classique Fromage Frais A Tartiner Afh Boite 1X80Gr 1P</c:v>
                  </c:pt>
                  <c:pt idx="9">
                    <c:v>Boursin Classique Fromage Frais A Tartiner Poivre Boite 1X150Gr 1P</c:v>
                  </c:pt>
                  <c:pt idx="10">
                    <c:v>Boursin Classique Fromage Frais A Tartiner Afh Boite 1X96Gr 6P</c:v>
                  </c:pt>
                  <c:pt idx="11">
                    <c:v>Boursin Classique Fromage Frais A Tartiner Afh 1X256Gr 16P</c:v>
                  </c:pt>
                  <c:pt idx="12">
                    <c:v>Boursin Classique Fromage Frais A Tartiner Ciboulette &amp; Echalote 1X160Gr 10P</c:v>
                  </c:pt>
                  <c:pt idx="13">
                    <c:v>Boursin Classique Fromage Frais A Tartiner Afh Boite 1X250Gr 1P</c:v>
                  </c:pt>
                  <c:pt idx="14">
                    <c:v>Boursin Onctueux Fromage Frais A Tartiner Afh 1X125Gr 1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0BC0E24-3475-48D0-88A6-54048667D9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AD739928-3D0F-4F41-AE19-39C0B732E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CE302782-8F7E-4684-A268-E6E550CCE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DCC549BA-3225-4D4B-8DE5-C1D2AF9B9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83480B66-B755-41BF-BA46-48DE6908D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68BB92D4-6593-45B7-AC9C-B062049FF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13C937D3-5D3E-4250-8546-56E34DF7D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C4941388-8FDF-4A41-9E05-9F25C1A21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8B921006-1A63-4F85-A8C7-6417E6350A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B8244FC9-C93C-4CB9-A26C-175EC0CD6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11E5CA1-22C6-4204-94E1-6E4E50064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23EAAD9-23DF-4E2C-8A7B-159586CC4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35849D47-9221-4804-BD38-234E0DBE6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EEEAC00E-2B1C-4E1C-8A1F-157CB703C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2F4855A9-CEC8-4A20-86CF-6679041CF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271F9DE8-8A67-41F2-8F39-D33DF8240C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E0616C7A-9095-4E74-B72B-88075DF08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C5A725E2-2FDB-452F-8DF3-3798D5F992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ED1C0400-011C-4A3F-AB61-CEFB652C4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CD6B4178-B4FC-4FE2-B81C-469638B7C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2EBFA842-D160-4627-9533-18EC1B041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2A31BEC8-246A-44C1-87AA-3AF113236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CD442353-E170-4FF0-B110-919C352A0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64D455DD-F878-4ADC-AA62-FC30F6EC83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68B99F41-76FB-42D1-ABB4-07442E3F6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819A6AAA-554E-4BD9-93AD-C416DE995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B66E9D5C-D2EA-4C40-948F-2FB4C2E08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9EAA996E-648D-4784-9A13-EF64C4A57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1FA840DF-410C-457C-9579-8DBA1BD6B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61EDBBD5-F743-47FF-ABA6-1B1F9C3B7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90EFEB38-793E-4F40-ABCD-5BECEFFD0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C7AC3D3E-E6CB-42CE-B431-04D588BA5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6C30B3B1-7CDB-4283-9FDB-4D54F54A4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732A6680-8DE6-450F-9CEC-42028A27C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CE62656D-F2F0-4306-AF2A-AAAD349E8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6227FCF-9CF7-48C6-B5E1-F031CACE7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0957A85A-9628-453C-814F-1BBE84387A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300C5B7B-20D7-428E-8A4A-3748FDACF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2C1E1059-9479-4735-A758-B252ABF08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D41AE5A4-6509-4E05-AAED-5BDC1F649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56724026-4D9D-4285-9E76-DD0B5256B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5D135437-D6BB-4937-AB0A-8C1BA57CF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7F55C175-49F7-44F4-B663-54A3B45E1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1F0E363C-E2A8-441E-BD91-D75815DF3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8CA452A8-A3B4-44E8-A36E-0E7CBD14A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3125D218-2FB1-4E91-A3BC-5E2B42117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D5344869-AFA4-46A1-9555-E66B1A59A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E1105206-ACE8-44DE-95C6-009211444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0B9E0410-8376-4A0D-8A98-49A4CFA44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8099DA3E-A7BF-433C-8B2D-0881BDD53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DD9D401-221A-4647-BB1F-DF50E9827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AB49A60E-7B4A-48D4-9F26-004E821F5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BB61FE2A-9533-4D14-B3B6-3D2E5165F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6AFA4CE2-480E-4539-9CCB-09969A801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BD5FADEB-E32C-4290-955A-EDD70A2B3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99A248E4-BA4E-4E77-ABDB-58C1DF267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1A5ABDC2-0354-43ED-AA9A-04FC7CFA0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7</c:f>
              <c:numCache>
                <c:formatCode>General</c:formatCode>
                <c:ptCount val="6"/>
                <c:pt idx="0">
                  <c:v>0.43430000000000002</c:v>
                </c:pt>
                <c:pt idx="1">
                  <c:v>0.38550000000000001</c:v>
                </c:pt>
                <c:pt idx="2">
                  <c:v>0.36380000000000001</c:v>
                </c:pt>
                <c:pt idx="3">
                  <c:v>0.42049999999999998</c:v>
                </c:pt>
                <c:pt idx="4">
                  <c:v>0.4869</c:v>
                </c:pt>
                <c:pt idx="5">
                  <c:v>0.47799999999999998</c:v>
                </c:pt>
              </c:numCache>
            </c:numRef>
          </c:xVal>
          <c:yVal>
            <c:numRef>
              <c:f>Sheet1!$B$2:$B$7</c:f>
              <c:numCache>
                <c:formatCode>General</c:formatCode>
                <c:ptCount val="6"/>
                <c:pt idx="0">
                  <c:v>0.31180000000000002</c:v>
                </c:pt>
                <c:pt idx="1">
                  <c:v>0.30990000000000001</c:v>
                </c:pt>
                <c:pt idx="2">
                  <c:v>0.35339999999999999</c:v>
                </c:pt>
                <c:pt idx="3">
                  <c:v>0.27829999999999999</c:v>
                </c:pt>
                <c:pt idx="4">
                  <c:v>0.1988</c:v>
                </c:pt>
                <c:pt idx="5">
                  <c:v>0.26779999999999998</c:v>
                </c:pt>
              </c:numCache>
            </c:numRef>
          </c:yVal>
          <c:bubbleSize>
            <c:numRef>
              <c:f>Sheet1!$C$2:$C$7</c:f>
              <c:numCache>
                <c:formatCode>General</c:formatCode>
                <c:ptCount val="6"/>
                <c:pt idx="0">
                  <c:v>11293.564049586779</c:v>
                </c:pt>
                <c:pt idx="1">
                  <c:v>2199.2426035502958</c:v>
                </c:pt>
                <c:pt idx="2">
                  <c:v>1098.2067247820671</c:v>
                </c:pt>
                <c:pt idx="3">
                  <c:v>3335.8687727825031</c:v>
                </c:pt>
                <c:pt idx="4">
                  <c:v>1614.075757575758</c:v>
                </c:pt>
                <c:pt idx="5">
                  <c:v>1111.304347826087</c:v>
                </c:pt>
              </c:numCache>
            </c:numRef>
          </c:bubbleSize>
          <c:bubble3D val="0"/>
          <c:extLst>
            <c:ext xmlns:c15="http://schemas.microsoft.com/office/drawing/2012/chart" uri="{02D57815-91ED-43cb-92C2-25804820EDAC}">
              <c15:datalabelsRange>
                <c15:f>Sheet1!$E$2:$E$58</c15:f>
                <c15:dlblRangeCache>
                  <c:ptCount val="57"/>
                  <c:pt idx="0">
                    <c:v>Boursin Salade &amp; Aperitif Fromage Frais Des Afh 1X120Gr 1P</c:v>
                  </c:pt>
                  <c:pt idx="1">
                    <c:v>Boursin Salade &amp; Aperitif Fromage Frais Des Figue Noix 1X120Gr 1P</c:v>
                  </c:pt>
                  <c:pt idx="2">
                    <c:v>Boursin Salade &amp; Aperitif Fromage Frais Des Noisette Et 3 Noix 1X120Gr 1P</c:v>
                  </c:pt>
                  <c:pt idx="3">
                    <c:v>Boursin Salade &amp; Aperitif Fromage Frais Des Ciboulette Echalote 1X120Gr 1P</c:v>
                  </c:pt>
                  <c:pt idx="4">
                    <c:v>Boursin Salade &amp; Aperitif Fromage Frais Des Citron Romarin 1X120Gr 1P</c:v>
                  </c:pt>
                  <c:pt idx="5">
                    <c:v>Bel Boursin Salade &amp; Aperitif Soft Cheese Salade 1 Ct X 1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E435A5A-F4C8-4782-9233-D16D0DC94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FFB5909-AB4E-428B-8EB2-1BC800C0D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F6D5ADEF-95B2-4693-9F27-35C47E44B8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F95345E-260F-4B0C-B0E1-8AE9298CF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4C0E785-1B60-4438-A08B-A62DB4514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FDD3874E-70C7-44F1-976E-2406F8367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5C7DB632-CCDC-4106-8C2E-4354E14D5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BFDA-4C69-8E79-A083B7EFBA29}"/>
                </c:ext>
              </c:extLst>
            </c:dLbl>
            <c:dLbl>
              <c:idx val="7"/>
              <c:tx>
                <c:rich>
                  <a:bodyPr/>
                  <a:lstStyle/>
                  <a:p>
                    <a:fld id="{9E33EE57-6FEC-443B-9323-AAACCD3047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BFDA-4C69-8E79-A083B7EFBA29}"/>
                </c:ext>
              </c:extLst>
            </c:dLbl>
            <c:dLbl>
              <c:idx val="8"/>
              <c:tx>
                <c:rich>
                  <a:bodyPr/>
                  <a:lstStyle/>
                  <a:p>
                    <a:fld id="{5448A0F8-A8AB-46DC-B52E-C56D59C9B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4F15B8B1-17FC-435B-801E-3A3891C85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44AF7E69-7BC5-4CDD-816B-257F7AD1E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292B1241-944A-4A4B-890E-403E52326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92874534-8FAE-49DD-9DEB-5124F0100F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642E5D6E-5183-46C7-A28C-B6508FC1D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F5E3493E-C32B-4A53-869B-011331FA3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9552F215-C083-43B2-BFA9-FC616AD84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A92497FB-3004-4634-B75F-2280CA2C52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8B57C7BF-0606-4683-917A-80E1E7583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0608DEC0-C80E-451D-8A9B-15AE4173E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1B82C030-61DB-4D56-9AB9-4B2E79537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6E9EA1A7-7A71-404C-AA02-DF84AD4BF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EB6F6501-3165-4632-A4B5-E1B66DB83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7FA49DEF-69F3-4C4C-B8DF-CE5339946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5AABCF00-86E3-4EDB-BB0F-29E9E69AD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CAE6BE6A-BC94-454A-833C-4C127D762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15505664-6DFE-42A5-8A80-6479E80F9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74DD675B-C132-495E-91ED-EC76801AB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652DCDCE-62EB-4C2B-8924-EA3043A4E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186B9257-A9CF-4A1E-8CCE-FCBFE6217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39ECC284-9253-490B-9429-EA42AA821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202487AB-F17B-4FA2-965D-8869059F4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2C7B98E2-E8BE-4A4D-9A3C-DCC2BEE34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56B51A67-036E-46A0-9CB7-89F127E5A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18397F52-3D58-4F6E-8D3F-F0A95569A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2417BAD3-3D1E-4F48-BD07-755A6DD3E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66016B1-6091-4D8A-94E3-3817C97C6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DD5423E6-1D74-44EF-A87E-AF03F278B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1CDF77B-9FFC-4EDB-A6BB-F6415BF6C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3D003281-318D-445A-9124-5783DC19D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A0FCF614-6482-4AD1-A763-604C1CF52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CD5D10AC-71B6-40A7-8A11-E014CAD23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9387CF7D-8FCC-497D-B4AA-057B1489C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3F431458-F3B9-4CC3-8FE8-703BC2691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7FDF04F7-E34C-459E-94EF-264379DDD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5FEDA2F5-5075-40F9-B58E-4B46BAA78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A3A7F0FF-333A-4870-84D5-18256975B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F0D5574-CAF9-4DF5-957D-133BEBDD2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DA5F5883-93B4-4386-9C6B-8874C3F46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0010D6A1-78E7-4F4D-9E59-1B54F7561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2AF6704B-3147-471E-A389-C4C94F698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4B504CEA-3276-459A-9E2B-9AF4DB645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F7CE8BF3-AAE4-41C4-92E3-22F7F2147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1A115EE4-2579-4EB3-B986-67292129B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A7711A27-BD4F-40FB-8B55-BA06E49D3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D80825A0-04E9-42D0-8B3D-E89F02A7F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AEDC3532-D2A5-4CFE-B003-5142C947C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3642B816-5C55-493B-AD37-BAA558988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c:f>
              <c:numCache>
                <c:formatCode>General</c:formatCode>
                <c:ptCount val="5"/>
                <c:pt idx="0">
                  <c:v>0.40429999999999999</c:v>
                </c:pt>
                <c:pt idx="1">
                  <c:v>0.40560000000000002</c:v>
                </c:pt>
                <c:pt idx="2">
                  <c:v>0.43690000000000001</c:v>
                </c:pt>
                <c:pt idx="3">
                  <c:v>0.2555</c:v>
                </c:pt>
                <c:pt idx="4">
                  <c:v>0.42380000000000001</c:v>
                </c:pt>
              </c:numCache>
            </c:numRef>
          </c:xVal>
          <c:yVal>
            <c:numRef>
              <c:f>Sheet1!$B$2:$B$6</c:f>
              <c:numCache>
                <c:formatCode>General</c:formatCode>
                <c:ptCount val="5"/>
                <c:pt idx="0">
                  <c:v>0.26950000000000002</c:v>
                </c:pt>
                <c:pt idx="1">
                  <c:v>0.18890000000000001</c:v>
                </c:pt>
                <c:pt idx="2">
                  <c:v>0.2384</c:v>
                </c:pt>
                <c:pt idx="3">
                  <c:v>0.34350000000000003</c:v>
                </c:pt>
                <c:pt idx="4">
                  <c:v>0.17460000000000001</c:v>
                </c:pt>
              </c:numCache>
            </c:numRef>
          </c:yVal>
          <c:bubbleSize>
            <c:numRef>
              <c:f>Sheet1!$C$2:$C$6</c:f>
              <c:numCache>
                <c:formatCode>General</c:formatCode>
                <c:ptCount val="5"/>
                <c:pt idx="0">
                  <c:v>22494.2546583851</c:v>
                </c:pt>
                <c:pt idx="1">
                  <c:v>7525.8762886597942</c:v>
                </c:pt>
                <c:pt idx="2">
                  <c:v>14703.46871569703</c:v>
                </c:pt>
                <c:pt idx="3">
                  <c:v>775.14666666666665</c:v>
                </c:pt>
                <c:pt idx="4">
                  <c:v>730.54462934947037</c:v>
                </c:pt>
              </c:numCache>
            </c:numRef>
          </c:bubbleSize>
          <c:bubble3D val="0"/>
          <c:extLst>
            <c:ext xmlns:c15="http://schemas.microsoft.com/office/drawing/2012/chart" uri="{02D57815-91ED-43cb-92C2-25804820EDAC}">
              <c15:datalabelsRange>
                <c15:f>Sheet1!$E$2:$E$58</c15:f>
                <c15:dlblRangeCache>
                  <c:ptCount val="57"/>
                  <c:pt idx="0">
                    <c:v>Boursin Aperitif Roules Fromage Frais Roule Afh Et Jambon Fume Boite 1X100Gr 20P</c:v>
                  </c:pt>
                  <c:pt idx="1">
                    <c:v>Boursin Aperitif Roules Fromage Frais Roule Basilic &amp; Jambon Fume Tomate Boite 1X100Gr 20P</c:v>
                  </c:pt>
                  <c:pt idx="2">
                    <c:v>Boursin Aperitif Roules Fromage Frais Roule Ciboulette &amp; Echalote Jambon Fume Boite 1X100Gr 20P</c:v>
                  </c:pt>
                  <c:pt idx="3">
                    <c:v>Boursin Aperitif Roules Fromage Frais Roule Jambon Fume &amp; Trio De Noix Boite 1X100Gr 20P</c:v>
                  </c:pt>
                  <c:pt idx="4">
                    <c:v>Bel Boursin Aperitif Roules Aperitif Aperitif 1 Ct X 10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152FA88-78F6-4203-8C93-03228D03D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480D7D83-ABD4-48FD-BC88-F634069AC2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553D7F02-7DBC-4FE5-AB2E-C6BC32FD6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0C19250-ED0C-4633-AFCA-1BDEA342E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24FE6B06-157E-41B9-BA7E-585077FF2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192EA72-A5D8-460B-A7BF-B256F0EE7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DE3DF700-12A1-42A7-8867-FE9B82510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0AC98C38-C1B0-4307-9123-54CE6498C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201684E-6754-4F26-B41B-1A97FB90F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9226FA16-F30D-4784-9F04-D4BBCD633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AB260216-FA94-4181-9F6F-0E48E8F68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C5D98D28-A9A9-4AF5-BC63-3C2DBBEEA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8E8F36E7-9857-4F9C-8DC3-73CED90EFA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C4539907-C019-4C21-BA95-B9D365418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C34FDF9C-8FA9-424C-9D4F-36E754359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A1D4ECCB-73B7-4C23-8FA4-DE4D19650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6EA65F24-061E-4B4D-A6B2-4756EB398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90CA300B-E07F-414B-B8BE-D2470EBB95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6B7F0C95-E561-45F7-8308-274B5B616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DA3E1AAD-3E0C-42D5-9576-2C52A9C25E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5A05B0B3-8E79-4164-871F-1BB6ADB88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B7CB9AEF-7CEE-44FE-A624-CCDA315CA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429126A8-DC56-49A5-B380-6E731E756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3B3E2FC8-AB08-441A-8DE5-7289D5750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311C3D08-51E0-4222-93A3-F825156ED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0C8743AB-7651-41D0-A21C-CF9A6DC08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DB74B556-2352-48AF-9154-26F4D1280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2CF8366F-DEA8-41BF-BDE7-6FDEC7098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D36AFA66-98C4-4127-BCE8-02F40E7FB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AFA08B04-C92C-4EBF-8230-3EB99AF57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6AE2A2C0-B9DC-423E-AE50-C3A3AA452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7320AC3D-C596-42B6-ACCF-68245979E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36C2BBC4-5955-4A7B-96D4-AF9E036B1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221F2E1D-EA6B-4498-B065-D8B8EBCBC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1FE22206-83D9-4D68-8C21-504C7006CD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92EC1385-4F18-4E39-82D4-BC504013C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91C4B9A2-891C-471F-9ED3-A1C0A26BE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5A13C6B8-EDC6-4189-9427-3AFF257FA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5A548E04-D6AD-469E-A4AE-01BFEEBC4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14A5A1F7-A391-4192-97BA-C3E9FC7BC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495A64BB-A335-48FC-A4F2-B6D4B6991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651C6A04-1855-460B-B89D-16B3C9441C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9879EC6C-6FDF-4F78-AF3F-7F4A7C08F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D60E6D3C-7DDB-49CD-9ADE-BB61B9267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D6618913-858B-4398-8ADB-08D7F659C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2415A5BB-DC5F-4F3E-9C28-6AC4AA43D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C252A754-188F-4F16-A6E1-3138BFC98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99A434A7-FBC8-473F-896C-1302AB8FF0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21B47901-C14C-4BEE-BCA2-8868E780A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C9A31FBE-AEB1-4843-935B-36415166B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AD2BC213-C17E-461E-ADA6-FA8E9E75FC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48C283F4-E1F0-4F0C-B7BC-E2C26B1E0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3D28F3E7-C9FB-41A9-B6E7-1C96FDF89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DB2D770F-D481-4934-8490-6E8995D26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6513E563-8992-4A4A-94E1-2C36DB276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646D6E33-1F66-4F1D-8131-5855A66B9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187A43FC-5C1D-48F2-BB7E-58453562C5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12</c:f>
              <c:numCache>
                <c:formatCode>General</c:formatCode>
                <c:ptCount val="11"/>
                <c:pt idx="0">
                  <c:v>0.34849999999999998</c:v>
                </c:pt>
                <c:pt idx="1">
                  <c:v>0.32590000000000002</c:v>
                </c:pt>
                <c:pt idx="2">
                  <c:v>0.4577</c:v>
                </c:pt>
                <c:pt idx="3">
                  <c:v>0.49909999999999999</c:v>
                </c:pt>
                <c:pt idx="4">
                  <c:v>0.36840000000000001</c:v>
                </c:pt>
                <c:pt idx="5">
                  <c:v>0.3639</c:v>
                </c:pt>
                <c:pt idx="6">
                  <c:v>0.27950000000000003</c:v>
                </c:pt>
                <c:pt idx="7">
                  <c:v>0.34939999999999999</c:v>
                </c:pt>
                <c:pt idx="8">
                  <c:v>0.47739999999999999</c:v>
                </c:pt>
                <c:pt idx="9">
                  <c:v>0.43070000000000003</c:v>
                </c:pt>
                <c:pt idx="10">
                  <c:v>0.49390000000000001</c:v>
                </c:pt>
              </c:numCache>
            </c:numRef>
          </c:xVal>
          <c:yVal>
            <c:numRef>
              <c:f>Sheet1!$B$2:$B$12</c:f>
              <c:numCache>
                <c:formatCode>General</c:formatCode>
                <c:ptCount val="11"/>
                <c:pt idx="0">
                  <c:v>0.35210000000000002</c:v>
                </c:pt>
                <c:pt idx="1">
                  <c:v>0.42880000000000001</c:v>
                </c:pt>
                <c:pt idx="2">
                  <c:v>0.3745</c:v>
                </c:pt>
                <c:pt idx="3">
                  <c:v>0.26479999999999998</c:v>
                </c:pt>
                <c:pt idx="4">
                  <c:v>0.42459999999999998</c:v>
                </c:pt>
                <c:pt idx="5">
                  <c:v>0.41860000000000003</c:v>
                </c:pt>
                <c:pt idx="6">
                  <c:v>0.21079999999999999</c:v>
                </c:pt>
                <c:pt idx="7">
                  <c:v>0.48120000000000002</c:v>
                </c:pt>
                <c:pt idx="8">
                  <c:v>0.33500000000000002</c:v>
                </c:pt>
                <c:pt idx="9">
                  <c:v>0.23860000000000001</c:v>
                </c:pt>
                <c:pt idx="10">
                  <c:v>0.38869999999999999</c:v>
                </c:pt>
              </c:numCache>
            </c:numRef>
          </c:yVal>
          <c:bubbleSize>
            <c:numRef>
              <c:f>Sheet1!$C$2:$C$12</c:f>
              <c:numCache>
                <c:formatCode>General</c:formatCode>
                <c:ptCount val="11"/>
                <c:pt idx="0">
                  <c:v>43360.813008130077</c:v>
                </c:pt>
                <c:pt idx="1">
                  <c:v>45724.892307692309</c:v>
                </c:pt>
                <c:pt idx="2">
                  <c:v>6139.8327359617679</c:v>
                </c:pt>
                <c:pt idx="3">
                  <c:v>481.37096774193537</c:v>
                </c:pt>
                <c:pt idx="4">
                  <c:v>20585.647298674819</c:v>
                </c:pt>
                <c:pt idx="5">
                  <c:v>27675.493562231761</c:v>
                </c:pt>
                <c:pt idx="6">
                  <c:v>3357.0257037943702</c:v>
                </c:pt>
                <c:pt idx="7">
                  <c:v>25786.988809766019</c:v>
                </c:pt>
                <c:pt idx="8">
                  <c:v>7090.9286898839136</c:v>
                </c:pt>
                <c:pt idx="9">
                  <c:v>3027.5083798882679</c:v>
                </c:pt>
                <c:pt idx="10">
                  <c:v>5504.0773809523807</c:v>
                </c:pt>
              </c:numCache>
            </c:numRef>
          </c:bubbleSize>
          <c:bubble3D val="0"/>
          <c:extLst>
            <c:ext xmlns:c15="http://schemas.microsoft.com/office/drawing/2012/chart" uri="{02D57815-91ED-43cb-92C2-25804820EDAC}">
              <c15:datalabelsRange>
                <c15:f>Sheet1!$E$2:$E$58</c15:f>
                <c15:dlblRangeCache>
                  <c:ptCount val="57"/>
                  <c:pt idx="0">
                    <c:v>Kiri Creme Fromage Blanc Frais Carre 1X432Gr 24P</c:v>
                  </c:pt>
                  <c:pt idx="1">
                    <c:v>Kiri Creme Fromage Blanc Frais Carre 1X216Gr 12P</c:v>
                  </c:pt>
                  <c:pt idx="2">
                    <c:v>Kiri Delicieusement Fouette Fromage Frais A Tartiner 1X125Gr 1P</c:v>
                  </c:pt>
                  <c:pt idx="3">
                    <c:v>Kiri Delicieusement Fouette Fromage Frais A Tartiner 1X210Gr 1P</c:v>
                  </c:pt>
                  <c:pt idx="4">
                    <c:v>Kiri Gouter Fromage Blanc Dips Boite 1X175Gr 5P</c:v>
                  </c:pt>
                  <c:pt idx="5">
                    <c:v>Kiri Gouter Fromage Blanc Dips Boite 1X280Gr 8P</c:v>
                  </c:pt>
                  <c:pt idx="6">
                    <c:v>Kiri Creme Fromage Blanc Frais Carre 1X432Gr 18+6P</c:v>
                  </c:pt>
                  <c:pt idx="7">
                    <c:v>Kiri Creme Fromage Blanc Frais Carre 1X144Gr 8P</c:v>
                  </c:pt>
                  <c:pt idx="8">
                    <c:v>Kiri Bio Fromage Blanc Frais Carre 1X144Gr 8P</c:v>
                  </c:pt>
                  <c:pt idx="9">
                    <c:v>Kiri Delicieusement Fouette Fromage Frais A Tartiner 1X160Gr 10P</c:v>
                  </c:pt>
                  <c:pt idx="10">
                    <c:v>Kiri Chevre Fromage Blanc Frais Carre 1X144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62B92390-9007-44C8-A878-1B90A0B48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1B4C420-F651-4557-B4F3-9E4B90646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C4E598E-BD05-47B6-A037-BE8508DE3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D80BD4D-9A89-43DC-8DEE-1E1166073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5AE9D34D-76B2-41EF-BF2C-6A791B737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AFAD6576-7370-418B-9DF8-BB4D8CE47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C5544B2-C10F-4062-8421-60E82C07F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AF01CA2-4B09-4D07-9E9F-8589C10EC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7DEB7D5-7072-42D3-9A31-97CD0A834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F1D07DE4-0D90-4CD2-8FB2-C1E9D25D7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D8B777E0-5F6D-44DE-93FF-7B6A1D7DE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BFDA-4C69-8E79-A083B7EFBA29}"/>
                </c:ext>
              </c:extLst>
            </c:dLbl>
            <c:dLbl>
              <c:idx val="11"/>
              <c:tx>
                <c:rich>
                  <a:bodyPr/>
                  <a:lstStyle/>
                  <a:p>
                    <a:fld id="{AEF1D29E-1950-4607-BA46-87060E7D9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BFDA-4C69-8E79-A083B7EFBA29}"/>
                </c:ext>
              </c:extLst>
            </c:dLbl>
            <c:dLbl>
              <c:idx val="12"/>
              <c:tx>
                <c:rich>
                  <a:bodyPr/>
                  <a:lstStyle/>
                  <a:p>
                    <a:fld id="{535DC1FA-45DB-4669-851E-DCC6400CC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BFDA-4C69-8E79-A083B7EFBA29}"/>
                </c:ext>
              </c:extLst>
            </c:dLbl>
            <c:dLbl>
              <c:idx val="13"/>
              <c:tx>
                <c:rich>
                  <a:bodyPr/>
                  <a:lstStyle/>
                  <a:p>
                    <a:fld id="{E53E1505-0D62-453E-BBF8-29C98E972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BFDA-4C69-8E79-A083B7EFBA29}"/>
                </c:ext>
              </c:extLst>
            </c:dLbl>
            <c:dLbl>
              <c:idx val="14"/>
              <c:tx>
                <c:rich>
                  <a:bodyPr/>
                  <a:lstStyle/>
                  <a:p>
                    <a:fld id="{67DBB0D5-E6BA-4607-84EA-685A87035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BFDA-4C69-8E79-A083B7EFBA29}"/>
                </c:ext>
              </c:extLst>
            </c:dLbl>
            <c:dLbl>
              <c:idx val="15"/>
              <c:tx>
                <c:rich>
                  <a:bodyPr/>
                  <a:lstStyle/>
                  <a:p>
                    <a:fld id="{C32AA31B-6AAB-479A-AB57-D74484F050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BFDA-4C69-8E79-A083B7EFBA29}"/>
                </c:ext>
              </c:extLst>
            </c:dLbl>
            <c:dLbl>
              <c:idx val="16"/>
              <c:tx>
                <c:rich>
                  <a:bodyPr/>
                  <a:lstStyle/>
                  <a:p>
                    <a:fld id="{B12F5AF8-B709-407F-B476-AB2077439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BFDA-4C69-8E79-A083B7EFBA29}"/>
                </c:ext>
              </c:extLst>
            </c:dLbl>
            <c:dLbl>
              <c:idx val="17"/>
              <c:tx>
                <c:rich>
                  <a:bodyPr/>
                  <a:lstStyle/>
                  <a:p>
                    <a:fld id="{7FF058F1-8FF3-4B59-B2C0-67A7803EF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BFDA-4C69-8E79-A083B7EFBA29}"/>
                </c:ext>
              </c:extLst>
            </c:dLbl>
            <c:dLbl>
              <c:idx val="18"/>
              <c:tx>
                <c:rich>
                  <a:bodyPr/>
                  <a:lstStyle/>
                  <a:p>
                    <a:fld id="{CB7427A1-276A-46C7-B990-E3F63BE22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BFDA-4C69-8E79-A083B7EFBA29}"/>
                </c:ext>
              </c:extLst>
            </c:dLbl>
            <c:dLbl>
              <c:idx val="19"/>
              <c:tx>
                <c:rich>
                  <a:bodyPr/>
                  <a:lstStyle/>
                  <a:p>
                    <a:fld id="{499B6030-34F2-4A97-A372-B46C383A9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BFDA-4C69-8E79-A083B7EFBA29}"/>
                </c:ext>
              </c:extLst>
            </c:dLbl>
            <c:dLbl>
              <c:idx val="20"/>
              <c:tx>
                <c:rich>
                  <a:bodyPr/>
                  <a:lstStyle/>
                  <a:p>
                    <a:fld id="{CC25EA42-E60C-493D-9716-7D66A7D80A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BFDA-4C69-8E79-A083B7EFBA29}"/>
                </c:ext>
              </c:extLst>
            </c:dLbl>
            <c:dLbl>
              <c:idx val="21"/>
              <c:tx>
                <c:rich>
                  <a:bodyPr/>
                  <a:lstStyle/>
                  <a:p>
                    <a:fld id="{2762EA2E-52AA-4A41-8E08-B98EDED70D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BFDA-4C69-8E79-A083B7EFBA29}"/>
                </c:ext>
              </c:extLst>
            </c:dLbl>
            <c:dLbl>
              <c:idx val="22"/>
              <c:tx>
                <c:rich>
                  <a:bodyPr/>
                  <a:lstStyle/>
                  <a:p>
                    <a:fld id="{AB52FF41-5308-4E19-BC40-D9919AC94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BFDA-4C69-8E79-A083B7EFBA29}"/>
                </c:ext>
              </c:extLst>
            </c:dLbl>
            <c:dLbl>
              <c:idx val="23"/>
              <c:tx>
                <c:rich>
                  <a:bodyPr/>
                  <a:lstStyle/>
                  <a:p>
                    <a:fld id="{905247D5-71DF-4067-8C5A-C0FB1557EB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BFDA-4C69-8E79-A083B7EFBA29}"/>
                </c:ext>
              </c:extLst>
            </c:dLbl>
            <c:dLbl>
              <c:idx val="24"/>
              <c:tx>
                <c:rich>
                  <a:bodyPr/>
                  <a:lstStyle/>
                  <a:p>
                    <a:fld id="{05FD699C-C17A-494A-8C56-0A46C2C94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BFDA-4C69-8E79-A083B7EFBA29}"/>
                </c:ext>
              </c:extLst>
            </c:dLbl>
            <c:dLbl>
              <c:idx val="25"/>
              <c:tx>
                <c:rich>
                  <a:bodyPr/>
                  <a:lstStyle/>
                  <a:p>
                    <a:fld id="{E81BAF46-379D-43E3-8993-E9546AAE5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2-BFDA-4C69-8E79-A083B7EFBA29}"/>
                </c:ext>
              </c:extLst>
            </c:dLbl>
            <c:dLbl>
              <c:idx val="26"/>
              <c:tx>
                <c:rich>
                  <a:bodyPr/>
                  <a:lstStyle/>
                  <a:p>
                    <a:fld id="{0C44D06D-E017-4466-B2B5-C67A8559E0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BFDA-4C69-8E79-A083B7EFBA29}"/>
                </c:ext>
              </c:extLst>
            </c:dLbl>
            <c:dLbl>
              <c:idx val="27"/>
              <c:tx>
                <c:rich>
                  <a:bodyPr/>
                  <a:lstStyle/>
                  <a:p>
                    <a:fld id="{A2069747-EDAF-4E9A-9811-C6AB32F4D6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BFDA-4C69-8E79-A083B7EFBA29}"/>
                </c:ext>
              </c:extLst>
            </c:dLbl>
            <c:dLbl>
              <c:idx val="28"/>
              <c:tx>
                <c:rich>
                  <a:bodyPr/>
                  <a:lstStyle/>
                  <a:p>
                    <a:fld id="{0F1C7E39-07B7-458A-A5A4-E87B54811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BFDA-4C69-8E79-A083B7EFBA29}"/>
                </c:ext>
              </c:extLst>
            </c:dLbl>
            <c:dLbl>
              <c:idx val="29"/>
              <c:tx>
                <c:rich>
                  <a:bodyPr/>
                  <a:lstStyle/>
                  <a:p>
                    <a:fld id="{6A577DFB-74E8-4A95-B905-1ADDD31CD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BFDA-4C69-8E79-A083B7EFBA29}"/>
                </c:ext>
              </c:extLst>
            </c:dLbl>
            <c:dLbl>
              <c:idx val="30"/>
              <c:tx>
                <c:rich>
                  <a:bodyPr/>
                  <a:lstStyle/>
                  <a:p>
                    <a:fld id="{3B95B99D-F648-4860-8C58-4CC4505E1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7-BFDA-4C69-8E79-A083B7EFBA29}"/>
                </c:ext>
              </c:extLst>
            </c:dLbl>
            <c:dLbl>
              <c:idx val="31"/>
              <c:tx>
                <c:rich>
                  <a:bodyPr/>
                  <a:lstStyle/>
                  <a:p>
                    <a:fld id="{650F0276-E0C4-4BCB-A6CB-F7209240B5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8-BFDA-4C69-8E79-A083B7EFBA29}"/>
                </c:ext>
              </c:extLst>
            </c:dLbl>
            <c:dLbl>
              <c:idx val="32"/>
              <c:tx>
                <c:rich>
                  <a:bodyPr/>
                  <a:lstStyle/>
                  <a:p>
                    <a:fld id="{7E8F4DF6-BB5A-4CDD-9D40-3242D0F9A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9-BFDA-4C69-8E79-A083B7EFBA29}"/>
                </c:ext>
              </c:extLst>
            </c:dLbl>
            <c:dLbl>
              <c:idx val="33"/>
              <c:tx>
                <c:rich>
                  <a:bodyPr/>
                  <a:lstStyle/>
                  <a:p>
                    <a:fld id="{F5B32D5F-FD74-4773-B418-41224879A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A-BFDA-4C69-8E79-A083B7EFBA29}"/>
                </c:ext>
              </c:extLst>
            </c:dLbl>
            <c:dLbl>
              <c:idx val="34"/>
              <c:tx>
                <c:rich>
                  <a:bodyPr/>
                  <a:lstStyle/>
                  <a:p>
                    <a:fld id="{49A09334-1BEF-4D06-95F9-18C84E4B1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B-BFDA-4C69-8E79-A083B7EFBA29}"/>
                </c:ext>
              </c:extLst>
            </c:dLbl>
            <c:dLbl>
              <c:idx val="35"/>
              <c:tx>
                <c:rich>
                  <a:bodyPr/>
                  <a:lstStyle/>
                  <a:p>
                    <a:fld id="{0DA4C422-3591-44FC-8467-2E1477CC6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C-BFDA-4C69-8E79-A083B7EFBA29}"/>
                </c:ext>
              </c:extLst>
            </c:dLbl>
            <c:dLbl>
              <c:idx val="36"/>
              <c:tx>
                <c:rich>
                  <a:bodyPr/>
                  <a:lstStyle/>
                  <a:p>
                    <a:fld id="{8293DE95-9852-4C7D-A2D6-1890E842F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BFDA-4C69-8E79-A083B7EFBA29}"/>
                </c:ext>
              </c:extLst>
            </c:dLbl>
            <c:dLbl>
              <c:idx val="37"/>
              <c:tx>
                <c:rich>
                  <a:bodyPr/>
                  <a:lstStyle/>
                  <a:p>
                    <a:fld id="{9B6CFDFC-721E-4438-9516-843BBF0CA5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E-BFDA-4C69-8E79-A083B7EFBA29}"/>
                </c:ext>
              </c:extLst>
            </c:dLbl>
            <c:dLbl>
              <c:idx val="38"/>
              <c:tx>
                <c:rich>
                  <a:bodyPr/>
                  <a:lstStyle/>
                  <a:p>
                    <a:fld id="{F4A9CE35-6772-45D4-BB75-1F4F9B95E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BFDA-4C69-8E79-A083B7EFBA29}"/>
                </c:ext>
              </c:extLst>
            </c:dLbl>
            <c:dLbl>
              <c:idx val="39"/>
              <c:tx>
                <c:rich>
                  <a:bodyPr/>
                  <a:lstStyle/>
                  <a:p>
                    <a:fld id="{3C1FA7B7-6440-496D-83DC-BF4FE762B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BFDA-4C69-8E79-A083B7EFBA29}"/>
                </c:ext>
              </c:extLst>
            </c:dLbl>
            <c:dLbl>
              <c:idx val="40"/>
              <c:tx>
                <c:rich>
                  <a:bodyPr/>
                  <a:lstStyle/>
                  <a:p>
                    <a:fld id="{70C86791-6D5F-4C35-A852-817629DC6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1-BFDA-4C69-8E79-A083B7EFBA29}"/>
                </c:ext>
              </c:extLst>
            </c:dLbl>
            <c:dLbl>
              <c:idx val="41"/>
              <c:tx>
                <c:rich>
                  <a:bodyPr/>
                  <a:lstStyle/>
                  <a:p>
                    <a:fld id="{85A0289C-8A9B-4150-8166-564F197DA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BFDA-4C69-8E79-A083B7EFBA29}"/>
                </c:ext>
              </c:extLst>
            </c:dLbl>
            <c:dLbl>
              <c:idx val="42"/>
              <c:tx>
                <c:rich>
                  <a:bodyPr/>
                  <a:lstStyle/>
                  <a:p>
                    <a:fld id="{60A5EACE-A32C-4AC7-A1F6-9E04B9299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BFDA-4C69-8E79-A083B7EFBA29}"/>
                </c:ext>
              </c:extLst>
            </c:dLbl>
            <c:dLbl>
              <c:idx val="43"/>
              <c:tx>
                <c:rich>
                  <a:bodyPr/>
                  <a:lstStyle/>
                  <a:p>
                    <a:fld id="{315E7A27-72FC-484A-82D1-B230CEDD49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BFDA-4C69-8E79-A083B7EFBA29}"/>
                </c:ext>
              </c:extLst>
            </c:dLbl>
            <c:dLbl>
              <c:idx val="44"/>
              <c:tx>
                <c:rich>
                  <a:bodyPr/>
                  <a:lstStyle/>
                  <a:p>
                    <a:fld id="{321BA58F-EC25-40FB-9791-59EB8250DF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BFDA-4C69-8E79-A083B7EFBA29}"/>
                </c:ext>
              </c:extLst>
            </c:dLbl>
            <c:dLbl>
              <c:idx val="45"/>
              <c:tx>
                <c:rich>
                  <a:bodyPr/>
                  <a:lstStyle/>
                  <a:p>
                    <a:fld id="{FB1E5843-E758-4136-AA74-0E04EEAD4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6-BFDA-4C69-8E79-A083B7EFBA29}"/>
                </c:ext>
              </c:extLst>
            </c:dLbl>
            <c:dLbl>
              <c:idx val="46"/>
              <c:tx>
                <c:rich>
                  <a:bodyPr/>
                  <a:lstStyle/>
                  <a:p>
                    <a:fld id="{61884C7D-E4BE-4335-A7CC-7320F6687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BFDA-4C69-8E79-A083B7EFBA29}"/>
                </c:ext>
              </c:extLst>
            </c:dLbl>
            <c:dLbl>
              <c:idx val="47"/>
              <c:tx>
                <c:rich>
                  <a:bodyPr/>
                  <a:lstStyle/>
                  <a:p>
                    <a:fld id="{4E95D972-777A-4C4C-B488-1979211F6E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BFDA-4C69-8E79-A083B7EFBA29}"/>
                </c:ext>
              </c:extLst>
            </c:dLbl>
            <c:dLbl>
              <c:idx val="48"/>
              <c:tx>
                <c:rich>
                  <a:bodyPr/>
                  <a:lstStyle/>
                  <a:p>
                    <a:fld id="{0FA96AFE-1F9D-48D2-8121-1B410F365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E39-43D6-BE01-06409412DAF6}"/>
                </c:ext>
              </c:extLst>
            </c:dLbl>
            <c:dLbl>
              <c:idx val="49"/>
              <c:tx>
                <c:rich>
                  <a:bodyPr/>
                  <a:lstStyle/>
                  <a:p>
                    <a:fld id="{2B8A1203-23F7-4040-BDF5-CD07BB84D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E39-43D6-BE01-06409412DAF6}"/>
                </c:ext>
              </c:extLst>
            </c:dLbl>
            <c:dLbl>
              <c:idx val="50"/>
              <c:tx>
                <c:rich>
                  <a:bodyPr/>
                  <a:lstStyle/>
                  <a:p>
                    <a:fld id="{2269F64B-6C1E-49BC-B588-B7543A9CD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E39-43D6-BE01-06409412DAF6}"/>
                </c:ext>
              </c:extLst>
            </c:dLbl>
            <c:dLbl>
              <c:idx val="51"/>
              <c:tx>
                <c:rich>
                  <a:bodyPr/>
                  <a:lstStyle/>
                  <a:p>
                    <a:fld id="{C266482B-ACCE-4D01-92C6-821C1EF75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E39-43D6-BE01-06409412DAF6}"/>
                </c:ext>
              </c:extLst>
            </c:dLbl>
            <c:dLbl>
              <c:idx val="52"/>
              <c:tx>
                <c:rich>
                  <a:bodyPr/>
                  <a:lstStyle/>
                  <a:p>
                    <a:fld id="{2CF796BC-C4B6-4C2A-99C5-291A33014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E39-43D6-BE01-06409412DAF6}"/>
                </c:ext>
              </c:extLst>
            </c:dLbl>
            <c:dLbl>
              <c:idx val="53"/>
              <c:tx>
                <c:rich>
                  <a:bodyPr/>
                  <a:lstStyle/>
                  <a:p>
                    <a:fld id="{21C8C23F-7641-4DDA-AFEF-C8E64C457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E39-43D6-BE01-06409412DAF6}"/>
                </c:ext>
              </c:extLst>
            </c:dLbl>
            <c:dLbl>
              <c:idx val="54"/>
              <c:tx>
                <c:rich>
                  <a:bodyPr/>
                  <a:lstStyle/>
                  <a:p>
                    <a:fld id="{471746A5-0883-4FCF-AE0A-9B96B6877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E39-43D6-BE01-06409412DAF6}"/>
                </c:ext>
              </c:extLst>
            </c:dLbl>
            <c:dLbl>
              <c:idx val="55"/>
              <c:tx>
                <c:rich>
                  <a:bodyPr/>
                  <a:lstStyle/>
                  <a:p>
                    <a:fld id="{42731A77-BC8D-4DC1-9DA6-A62E6B6E0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E39-43D6-BE01-06409412DAF6}"/>
                </c:ext>
              </c:extLst>
            </c:dLbl>
            <c:dLbl>
              <c:idx val="56"/>
              <c:tx>
                <c:rich>
                  <a:bodyPr/>
                  <a:lstStyle/>
                  <a:p>
                    <a:fld id="{3073B9AE-69A5-4516-816C-988201162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9</c:f>
              <c:numCache>
                <c:formatCode>General</c:formatCode>
                <c:ptCount val="8"/>
                <c:pt idx="0">
                  <c:v>0.55130000000000001</c:v>
                </c:pt>
                <c:pt idx="1">
                  <c:v>0.3977</c:v>
                </c:pt>
                <c:pt idx="2">
                  <c:v>0.24640000000000001</c:v>
                </c:pt>
                <c:pt idx="3">
                  <c:v>0.35820000000000002</c:v>
                </c:pt>
                <c:pt idx="4">
                  <c:v>0.32750000000000001</c:v>
                </c:pt>
                <c:pt idx="5">
                  <c:v>0.43259999999999998</c:v>
                </c:pt>
                <c:pt idx="6">
                  <c:v>0.42409999999999998</c:v>
                </c:pt>
                <c:pt idx="7">
                  <c:v>0.49440000000000001</c:v>
                </c:pt>
              </c:numCache>
            </c:numRef>
          </c:xVal>
          <c:yVal>
            <c:numRef>
              <c:f>Sheet1!$B$2:$B$9</c:f>
              <c:numCache>
                <c:formatCode>General</c:formatCode>
                <c:ptCount val="8"/>
                <c:pt idx="0">
                  <c:v>0.26960000000000001</c:v>
                </c:pt>
                <c:pt idx="1">
                  <c:v>0.39810000000000001</c:v>
                </c:pt>
                <c:pt idx="2">
                  <c:v>0.17280000000000001</c:v>
                </c:pt>
                <c:pt idx="3">
                  <c:v>0.31580000000000003</c:v>
                </c:pt>
                <c:pt idx="4">
                  <c:v>0.26429999999999998</c:v>
                </c:pt>
                <c:pt idx="5">
                  <c:v>0.3831</c:v>
                </c:pt>
                <c:pt idx="6">
                  <c:v>0.40150000000000002</c:v>
                </c:pt>
                <c:pt idx="7">
                  <c:v>0.34839999999999999</c:v>
                </c:pt>
              </c:numCache>
            </c:numRef>
          </c:yVal>
          <c:bubbleSize>
            <c:numRef>
              <c:f>Sheet1!$C$2:$C$9</c:f>
              <c:numCache>
                <c:formatCode>General</c:formatCode>
                <c:ptCount val="8"/>
                <c:pt idx="0">
                  <c:v>6740.5301914580259</c:v>
                </c:pt>
                <c:pt idx="1">
                  <c:v>61730.220440881763</c:v>
                </c:pt>
                <c:pt idx="2">
                  <c:v>1325.194805194805</c:v>
                </c:pt>
                <c:pt idx="3">
                  <c:v>52226.907545164722</c:v>
                </c:pt>
                <c:pt idx="4">
                  <c:v>79341.235480464631</c:v>
                </c:pt>
                <c:pt idx="5">
                  <c:v>10304.161712247331</c:v>
                </c:pt>
                <c:pt idx="6">
                  <c:v>14262.722513089009</c:v>
                </c:pt>
                <c:pt idx="7">
                  <c:v>14741.66273584906</c:v>
                </c:pt>
              </c:numCache>
            </c:numRef>
          </c:bubbleSize>
          <c:bubble3D val="0"/>
          <c:extLst>
            <c:ext xmlns:c15="http://schemas.microsoft.com/office/drawing/2012/chart" uri="{02D57815-91ED-43cb-92C2-25804820EDAC}">
              <c15:datalabelsRange>
                <c15:f>Sheet1!$E$2:$E$58</c15:f>
                <c15:dlblRangeCache>
                  <c:ptCount val="57"/>
                  <c:pt idx="0">
                    <c:v>La Vache Qui Rit Aro Fromage Fondu Boite Ronde Jambon 1X133Gr 8P</c:v>
                  </c:pt>
                  <c:pt idx="1">
                    <c:v>La Vache Qui Rit Nature Fromage Fondu Boite Ronde 1X192Gr 12P</c:v>
                  </c:pt>
                  <c:pt idx="2">
                    <c:v>La Vache Qui Rit Nature Fromage Fondu Boite Ronde 1X512Gr 24+8P</c:v>
                  </c:pt>
                  <c:pt idx="3">
                    <c:v>La Vache Qui Rit Nature Fromage Fondu Boite Ronde 1X384Gr 24P</c:v>
                  </c:pt>
                  <c:pt idx="4">
                    <c:v>La Vache Qui Rit Nature Fromage Fondu Boite Ronde 1X512Gr 32P</c:v>
                  </c:pt>
                  <c:pt idx="5">
                    <c:v>La Vache Qui Rit Allegee Fromage Fondu Boite Ronde Allege 1X267Gr 16P</c:v>
                  </c:pt>
                  <c:pt idx="6">
                    <c:v>La Vache Qui Rit Pik Et Croq' Fromage Fondu Dips Boite 1X175Gr 5P</c:v>
                  </c:pt>
                  <c:pt idx="7">
                    <c:v>La Vache Qui Rit Pik Et Croq' Fromage Fondu Dips Boite 1X280Gr 8P</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00&quot; €&quot;"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1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66.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67.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68.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69.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70.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71.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72.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73.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74.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75.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xml"/></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76.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77.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78.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79.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80.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81.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82.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83.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84.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9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9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9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xml"/></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9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9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10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10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10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64.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65.xml"/><Relationship Id="rId6" Type="http://schemas.openxmlformats.org/officeDocument/2006/relationships/chart" Target="../charts/chart10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66.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xml"/></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67.xml"/><Relationship Id="rId6" Type="http://schemas.openxmlformats.org/officeDocument/2006/relationships/chart" Target="../charts/chart10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68.xml"/><Relationship Id="rId6" Type="http://schemas.openxmlformats.org/officeDocument/2006/relationships/chart" Target="../charts/chart10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69.xml"/><Relationship Id="rId6" Type="http://schemas.openxmlformats.org/officeDocument/2006/relationships/chart" Target="../charts/chart10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3.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chart" Target="../charts/chart11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5.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chart" Target="../charts/chart11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chart" Target="../charts/chart11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9.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17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xml"/></Relationships>
</file>

<file path=ppt/slides/_rels/slide150.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chart" Target="../charts/chart11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1.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2.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chart" Target="../charts/chart11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3.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180.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4.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181.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33.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notesSlide" Target="../notesSlides/notesSlide34.xml"/><Relationship Id="rId7" Type="http://schemas.openxmlformats.org/officeDocument/2006/relationships/chart" Target="../charts/chart37.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35.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notesSlide" Target="../notesSlides/notesSlide36.xml"/><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4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46.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47.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48.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49.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51.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52.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53.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54.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5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xml"/></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56.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57.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58.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59.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6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61.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62.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63.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64.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6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14801" y="1387069"/>
            <a:ext cx="2412838" cy="175423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41299"/>
            <a:ext cx="2337813" cy="122041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14801" y="3141299"/>
            <a:ext cx="2412838" cy="122041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37813" cy="175423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800517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Bel | Total Fromage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4129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7645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36425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43292" y="1387069"/>
            <a:ext cx="2884347" cy="191684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3910"/>
            <a:ext cx="1866304" cy="105779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43292" y="3303910"/>
            <a:ext cx="2884347" cy="105779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66304" cy="191684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48890254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Bel | Frais A Tartiner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0391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0494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345017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La Vache Qui Rit | Enfant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llegee Fromage Fondu Boite Ronde Allege 1X267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ro Fromage Fondu Boite Ronde Jambon 1X133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512Gr 2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6587200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Kiri | Enfant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049734">
                  <a:extLst>
                    <a:ext uri="{9D8B030D-6E8A-4147-A177-3AD203B41FA5}">
                      <a16:colId xmlns:a16="http://schemas.microsoft.com/office/drawing/2014/main" val="2678984805"/>
                    </a:ext>
                  </a:extLst>
                </a:gridCol>
                <a:gridCol w="1049734">
                  <a:extLst>
                    <a:ext uri="{9D8B030D-6E8A-4147-A177-3AD203B41FA5}">
                      <a16:colId xmlns:a16="http://schemas.microsoft.com/office/drawing/2014/main" val="4077376227"/>
                    </a:ext>
                  </a:extLst>
                </a:gridCol>
                <a:gridCol w="1049734">
                  <a:extLst>
                    <a:ext uri="{9D8B030D-6E8A-4147-A177-3AD203B41FA5}">
                      <a16:colId xmlns:a16="http://schemas.microsoft.com/office/drawing/2014/main" val="3143555463"/>
                    </a:ext>
                  </a:extLst>
                </a:gridCol>
                <a:gridCol w="1049734">
                  <a:extLst>
                    <a:ext uri="{9D8B030D-6E8A-4147-A177-3AD203B41FA5}">
                      <a16:colId xmlns:a16="http://schemas.microsoft.com/office/drawing/2014/main" val="2159604574"/>
                    </a:ext>
                  </a:extLst>
                </a:gridCol>
                <a:gridCol w="1049734">
                  <a:extLst>
                    <a:ext uri="{9D8B030D-6E8A-4147-A177-3AD203B41FA5}">
                      <a16:colId xmlns:a16="http://schemas.microsoft.com/office/drawing/2014/main" val="3312290703"/>
                    </a:ext>
                  </a:extLst>
                </a:gridCol>
                <a:gridCol w="1049734">
                  <a:extLst>
                    <a:ext uri="{9D8B030D-6E8A-4147-A177-3AD203B41FA5}">
                      <a16:colId xmlns:a16="http://schemas.microsoft.com/office/drawing/2014/main" val="2664114771"/>
                    </a:ext>
                  </a:extLst>
                </a:gridCol>
                <a:gridCol w="1049734">
                  <a:extLst>
                    <a:ext uri="{9D8B030D-6E8A-4147-A177-3AD203B41FA5}">
                      <a16:colId xmlns:a16="http://schemas.microsoft.com/office/drawing/2014/main" val="176867304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18+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Bio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942330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La Vache Qui Rit | Enfant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512Gr 2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28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llegee Fromage Fondu Boite Ronde Allege 1X267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Bio Fromage Fondu Boite Ronde 1X128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ro Fromage Fondu Boite Ronde Jambon 1X133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3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256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9367434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Kiri | Total Fromage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18+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21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Bio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86524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La Vache Qui Rit | Total Fromage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512Gr 2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28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llegee Fromage Fondu Boite Ronde Allege 1X267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Bio Fromage Fondu Boite Ronde 1X128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ro Fromage Fondu Boite Ronde Jambon 1X133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3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256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733843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oursin | Total Fromage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Afh Et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Afh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Ciboulette &amp; Echalote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96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Onctueux Fromage Frais A Tartiner Afh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Figue Et 3 Noix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boulette Echalote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Figue Noix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8303085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oursin | Aperitif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837032">
                  <a:extLst>
                    <a:ext uri="{9D8B030D-6E8A-4147-A177-3AD203B41FA5}">
                      <a16:colId xmlns:a16="http://schemas.microsoft.com/office/drawing/2014/main" val="2678984805"/>
                    </a:ext>
                  </a:extLst>
                </a:gridCol>
                <a:gridCol w="1837032">
                  <a:extLst>
                    <a:ext uri="{9D8B030D-6E8A-4147-A177-3AD203B41FA5}">
                      <a16:colId xmlns:a16="http://schemas.microsoft.com/office/drawing/2014/main" val="4077376227"/>
                    </a:ext>
                  </a:extLst>
                </a:gridCol>
                <a:gridCol w="1837032">
                  <a:extLst>
                    <a:ext uri="{9D8B030D-6E8A-4147-A177-3AD203B41FA5}">
                      <a16:colId xmlns:a16="http://schemas.microsoft.com/office/drawing/2014/main" val="3143555463"/>
                    </a:ext>
                  </a:extLst>
                </a:gridCol>
                <a:gridCol w="1837032">
                  <a:extLst>
                    <a:ext uri="{9D8B030D-6E8A-4147-A177-3AD203B41FA5}">
                      <a16:colId xmlns:a16="http://schemas.microsoft.com/office/drawing/2014/main" val="2159604574"/>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Aperitif Roules Fromage Frais Roule Afh Et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Ciboulette &amp; Echalote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l Boursin Aperitif Roules Aperitif Aperitif 1 Ct X 100Gr</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Jambon Fume &amp; Trio De Noix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783133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Kiri | Soft Cheese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Bio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18+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hevr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21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1160892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La Vache Qui Rit | Soft Cheese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llegee Fromage Fondu Boite Ronde Allege 1X267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ro Fromage Fondu Boite Ronde Jambon 1X133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512Gr 2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6870922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oursin | Soft Cheese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96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Afh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Onctueux Fromage Frais A Tartiner Afh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Figue Et 3 Noix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256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Poivr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boulette Echalote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55678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65268" y="1387069"/>
            <a:ext cx="2462371" cy="17384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25538"/>
            <a:ext cx="2288280" cy="12361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65268" y="3125538"/>
            <a:ext cx="2462371" cy="12361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88280" cy="17384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35119148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Bel | Frais A Tartine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255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2692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646280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Kiri | Soft Cheese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734815">
                  <a:extLst>
                    <a:ext uri="{9D8B030D-6E8A-4147-A177-3AD203B41FA5}">
                      <a16:colId xmlns:a16="http://schemas.microsoft.com/office/drawing/2014/main" val="2678984805"/>
                    </a:ext>
                  </a:extLst>
                </a:gridCol>
                <a:gridCol w="734815">
                  <a:extLst>
                    <a:ext uri="{9D8B030D-6E8A-4147-A177-3AD203B41FA5}">
                      <a16:colId xmlns:a16="http://schemas.microsoft.com/office/drawing/2014/main" val="4077376227"/>
                    </a:ext>
                  </a:extLst>
                </a:gridCol>
                <a:gridCol w="734815">
                  <a:extLst>
                    <a:ext uri="{9D8B030D-6E8A-4147-A177-3AD203B41FA5}">
                      <a16:colId xmlns:a16="http://schemas.microsoft.com/office/drawing/2014/main" val="3143555463"/>
                    </a:ext>
                  </a:extLst>
                </a:gridCol>
                <a:gridCol w="734815">
                  <a:extLst>
                    <a:ext uri="{9D8B030D-6E8A-4147-A177-3AD203B41FA5}">
                      <a16:colId xmlns:a16="http://schemas.microsoft.com/office/drawing/2014/main" val="2159604574"/>
                    </a:ext>
                  </a:extLst>
                </a:gridCol>
                <a:gridCol w="734815">
                  <a:extLst>
                    <a:ext uri="{9D8B030D-6E8A-4147-A177-3AD203B41FA5}">
                      <a16:colId xmlns:a16="http://schemas.microsoft.com/office/drawing/2014/main" val="3312290703"/>
                    </a:ext>
                  </a:extLst>
                </a:gridCol>
                <a:gridCol w="734815">
                  <a:extLst>
                    <a:ext uri="{9D8B030D-6E8A-4147-A177-3AD203B41FA5}">
                      <a16:colId xmlns:a16="http://schemas.microsoft.com/office/drawing/2014/main" val="2664114771"/>
                    </a:ext>
                  </a:extLst>
                </a:gridCol>
                <a:gridCol w="734815">
                  <a:extLst>
                    <a:ext uri="{9D8B030D-6E8A-4147-A177-3AD203B41FA5}">
                      <a16:colId xmlns:a16="http://schemas.microsoft.com/office/drawing/2014/main" val="1768673043"/>
                    </a:ext>
                  </a:extLst>
                </a:gridCol>
                <a:gridCol w="734815">
                  <a:extLst>
                    <a:ext uri="{9D8B030D-6E8A-4147-A177-3AD203B41FA5}">
                      <a16:colId xmlns:a16="http://schemas.microsoft.com/office/drawing/2014/main" val="3541755291"/>
                    </a:ext>
                  </a:extLst>
                </a:gridCol>
                <a:gridCol w="734815">
                  <a:extLst>
                    <a:ext uri="{9D8B030D-6E8A-4147-A177-3AD203B41FA5}">
                      <a16:colId xmlns:a16="http://schemas.microsoft.com/office/drawing/2014/main" val="288087056"/>
                    </a:ext>
                  </a:extLst>
                </a:gridCol>
                <a:gridCol w="734815">
                  <a:extLst>
                    <a:ext uri="{9D8B030D-6E8A-4147-A177-3AD203B41FA5}">
                      <a16:colId xmlns:a16="http://schemas.microsoft.com/office/drawing/2014/main" val="1379681557"/>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18+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21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Bio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5988044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La Vache Qui Rit | Soft Cheese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512Gr 2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28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llegee Fromage Fondu Boite Ronde Allege 1X267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Bio Fromage Fondu Boite Ronde 1X128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ro Fromage Fondu Boite Ronde Jambon 1X133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3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256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989038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oursin | Soft Cheese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Afh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96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Onctueux Fromage Frais A Tartiner Afh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Figue Et 3 Noix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boulette Echalote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Figue Noix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tron Romarin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8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8063188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Kiri | Frais A Tartiner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Kiri Delicieusement Fouette Fromage Frais A Tartiner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21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328754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oursin | Frais A Tartiner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96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Onctueux Fromage Frais A Tartiner Afh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Figue Et 3 Noix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8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256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Poivr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3 Noix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320Gr 16+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0.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554141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oursin | Salade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Salade &amp; Aperitif Fromage Frais Des Afh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boulette Echalote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Figue Noix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tron Romarin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l Boursin Salade &amp; Aperitif Soft Cheese Salade 1 Ct X 120Gr</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Noisette Et 3 Noix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3893918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Kiri | Frais A Tartiner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7"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2449376">
                  <a:extLst>
                    <a:ext uri="{9D8B030D-6E8A-4147-A177-3AD203B41FA5}">
                      <a16:colId xmlns:a16="http://schemas.microsoft.com/office/drawing/2014/main" val="2678984805"/>
                    </a:ext>
                  </a:extLst>
                </a:gridCol>
                <a:gridCol w="2449376">
                  <a:extLst>
                    <a:ext uri="{9D8B030D-6E8A-4147-A177-3AD203B41FA5}">
                      <a16:colId xmlns:a16="http://schemas.microsoft.com/office/drawing/2014/main" val="4077376227"/>
                    </a:ext>
                  </a:extLst>
                </a:gridCol>
                <a:gridCol w="2449376">
                  <a:extLst>
                    <a:ext uri="{9D8B030D-6E8A-4147-A177-3AD203B41FA5}">
                      <a16:colId xmlns:a16="http://schemas.microsoft.com/office/drawing/2014/main" val="314355546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Kiri Delicieusement Fouette Fromage Frais A Tartiner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21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0059156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oursin | Frais A Tartiner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96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Onctueux Fromage Frais A Tartiner Afh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Figue Et 3 Noix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256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Poivr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8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Truff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5358576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oursin | Salade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Salade &amp; Aperitif Fromage Frais Des Afh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boulette Echalote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Figue Noix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Noisette Et 3 Noix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tron Romarin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l Boursin Salade &amp; Aperitif Soft Cheese Salade 1 Ct X 120Gr</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5512878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Aperitif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0533479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41131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20560" y="1387069"/>
            <a:ext cx="2507079" cy="174195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29021"/>
            <a:ext cx="2243572" cy="123268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20560" y="3129021"/>
            <a:ext cx="2507079" cy="12326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43572" cy="17419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5634080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Bel | Enfant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2902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3822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1322100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Total Fromage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142416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7238955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Enfant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65373755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85219240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Enfant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3521519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6835888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Total Fromage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3607932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0151448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Aperitif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62153727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671554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Soft Cheese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8679826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2848355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Soft Cheese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6259036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28252701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Frais A Tartiner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03464667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4217295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Salade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744256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2565162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Frais A Tartiner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434206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278758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61097" y="1387069"/>
            <a:ext cx="2466542" cy="173208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9154"/>
            <a:ext cx="2284109" cy="124255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61097" y="3119154"/>
            <a:ext cx="2466542" cy="124255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84109" cy="173208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90491112"/>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Bel | Total Fromag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91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2275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494502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el | Salade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990895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83742198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oursin | Aperitif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43873289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62919488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Kiri | Total Fromage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420871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5924023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La Vache Qui Rit | Total Fromage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76741502"/>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4157967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oursin | Total Fromage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0171143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23327820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Kiri | Enfant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4668647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3643276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La Vache Qui Rit | Enfant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77030503"/>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64482291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Kiri | Enfant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9313854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54138723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La Vache Qui Rit | Enfant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5680022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92252229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Kiri | Total Fromage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68233125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8373470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12234" y="1387069"/>
            <a:ext cx="2415405" cy="174289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29962"/>
            <a:ext cx="2335246" cy="123174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12234" y="3129962"/>
            <a:ext cx="2415405" cy="123174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35246" cy="174289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3413361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Bel | Salad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2996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7389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770483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La Vache Qui Rit | Total Fromage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19054178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71449421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oursin | Total Fromage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9382657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56471611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oursin | Aperitif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55201555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234357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Kiri | Soft Cheese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13449601"/>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15806187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La Vache Qui Rit | Soft Cheese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35913333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92823857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5</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oursin | Soft Cheese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89367341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5742220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6</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Kiri | Soft Cheese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9420072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14859865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7</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La Vache Qui Rit | Soft Cheese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85199103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6982218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8</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oursin | Soft Cheese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16613775"/>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94837852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Kiri | Frais A Tartiner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7542387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20002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58537" y="1387069"/>
            <a:ext cx="2469102" cy="173615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23221"/>
            <a:ext cx="2281549" cy="123848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58537" y="3123221"/>
            <a:ext cx="2469102" cy="12384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281549" cy="17361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5383304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Bel | Soft Chees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2322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2019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5707349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0</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oursin | Frais A Tartiner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28389604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425454376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1</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oursin | Salade | Carrefour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88575214"/>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330228387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2</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Kiri | Frais A Tartiner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229869780"/>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09964860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3</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oursin | Frais A Tartiner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150207789"/>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43616859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4</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Gross Margin %, Trade Margin % and Product Sales Rate  | Boursin | Salade | Intermarche | P12M</a:t>
            </a:r>
          </a:p>
          <a:p>
            <a:r>
              <a:t>Bubble Size: Product Sales Rate</a:t>
            </a:r>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3925316206"/>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167286902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Total Fromage | Carrefour | P3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Be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dd</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Alternative Vegeta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Aperitif</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oft Chees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6.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56089429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Total Fromage | Intermarche | P3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094145"/>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Be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dd</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381606">
                <a:tc>
                  <a:txBody>
                    <a:bodyPr/>
                    <a:lstStyle/>
                    <a:p>
                      <a:pPr algn="ctr">
                        <a:defRPr sz="800">
                          <a:latin typeface="Nexa Book"/>
                        </a:defRPr>
                      </a:pPr>
                      <a:r>
                        <a:t>Alternative Vegeta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381606">
                <a:tc>
                  <a:txBody>
                    <a:bodyPr/>
                    <a:lstStyle/>
                    <a:p>
                      <a:pPr algn="ctr">
                        <a:defRPr sz="800">
                          <a:latin typeface="Nexa Book"/>
                        </a:defRPr>
                      </a:pPr>
                      <a:r>
                        <a:t>Aperitif</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381606">
                <a:tc>
                  <a:txBody>
                    <a:bodyPr/>
                    <a:lstStyle/>
                    <a:p>
                      <a:pPr algn="ctr">
                        <a:defRPr sz="800">
                          <a:latin typeface="Nexa Book"/>
                        </a:defRPr>
                      </a:pPr>
                      <a:r>
                        <a:t>Soft Chees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6.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38160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8695168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Total Fromage | Carrefour | P3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Be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dd</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Alternative Vegeta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2.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Aperitif</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5%</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9%</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1.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Enfant</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3%</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Frais A Tartiner</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3.0%</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8%</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Sa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3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9.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2.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4.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5.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6.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7.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1.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175443219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t>Trade margin table vs Competition | Total Fromage | Intermarche | P3M</a:t>
            </a:r>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203177"/>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pPr algn="ctr">
                        <a:defRPr sz="1000">
                          <a:solidFill>
                            <a:srgbClr val="FFFFFF"/>
                          </a:solidFill>
                          <a:latin typeface="Nexa Book"/>
                        </a:defRPr>
                      </a:pPr>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a:defRPr sz="1000">
                          <a:solidFill>
                            <a:srgbClr val="FFFFFF"/>
                          </a:solidFill>
                          <a:latin typeface="Nexa Book"/>
                        </a:defRPr>
                      </a:pPr>
                      <a:r>
                        <a:t>Customer Profit from Bel</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fontAlgn="ctr">
                        <a:defRPr sz="1000">
                          <a:solidFill>
                            <a:srgbClr val="FFFFFF"/>
                          </a:solidFill>
                          <a:latin typeface="Nexa Book"/>
                        </a:defRPr>
                      </a:pP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a:defRPr sz="1000">
                          <a:solidFill>
                            <a:srgbClr val="FFFFFF"/>
                          </a:solidFill>
                          <a:latin typeface="Nexa Book"/>
                        </a:defRPr>
                      </a:pPr>
                      <a:r>
                        <a:t>Customer Profit from Mdd</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defRPr sz="1000">
                          <a:solidFill>
                            <a:srgbClr val="FFFFFF"/>
                          </a:solidFill>
                          <a:latin typeface="Nexa Book"/>
                        </a:defRPr>
                      </a:pPr>
                      <a:endParaRPr lang="en-CH"/>
                    </a:p>
                  </a:txBody>
                  <a:tcPr/>
                </a:tc>
                <a:tc hMerge="1">
                  <a:txBody>
                    <a:bodyPr/>
                    <a:lstStyle/>
                    <a:p>
                      <a:pPr algn="ctr">
                        <a:defRPr sz="1000">
                          <a:solidFill>
                            <a:srgbClr val="FFFFFF"/>
                          </a:solidFill>
                          <a:latin typeface="Nexa Book"/>
                        </a:defRPr>
                      </a:pPr>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272576">
                <a:tc>
                  <a:txBody>
                    <a:bodyPr/>
                    <a:lstStyle/>
                    <a:p>
                      <a:pPr algn="ctr">
                        <a:defRPr sz="800">
                          <a:latin typeface="Nexa Book"/>
                        </a:defRPr>
                      </a:pPr>
                      <a:r>
                        <a:t>Alternative Vegetal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4.3%</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2.5%</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272576">
                <a:tc>
                  <a:txBody>
                    <a:bodyPr/>
                    <a:lstStyle/>
                    <a:p>
                      <a:pPr algn="ctr">
                        <a:defRPr sz="800">
                          <a:latin typeface="Nexa Book"/>
                        </a:defRPr>
                      </a:pPr>
                      <a:r>
                        <a:t>Aperitif</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6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7.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9.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272576">
                <a:tc>
                  <a:txBody>
                    <a:bodyPr/>
                    <a:lstStyle/>
                    <a:p>
                      <a:pPr algn="ctr">
                        <a:defRPr sz="800">
                          <a:latin typeface="Nexa Book"/>
                        </a:defRPr>
                      </a:pPr>
                      <a:r>
                        <a:t>Enfant</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3.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7.9%</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35.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272576">
                <a:tc>
                  <a:txBody>
                    <a:bodyPr/>
                    <a:lstStyle/>
                    <a:p>
                      <a:pPr algn="ctr">
                        <a:defRPr sz="800">
                          <a:latin typeface="Nexa Book"/>
                        </a:defRPr>
                      </a:pPr>
                      <a:r>
                        <a:t>Frais A Tartiner</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5.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4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5.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0.0%</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5</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272576">
                <a:tc>
                  <a:txBody>
                    <a:bodyPr/>
                    <a:lstStyle/>
                    <a:p>
                      <a:pPr algn="ctr">
                        <a:defRPr sz="800">
                          <a:latin typeface="Nexa Book"/>
                        </a:defRPr>
                      </a:pPr>
                      <a:r>
                        <a:t>Salade</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0.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8.6</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7%</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44.7%</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2.7</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10.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272576">
                <a:tc>
                  <a:txBody>
                    <a:bodyPr/>
                    <a:lstStyle/>
                    <a:p>
                      <a:pPr algn="ctr">
                        <a:defRPr sz="800">
                          <a:latin typeface="Nexa Book"/>
                        </a:defRPr>
                      </a:pPr>
                      <a: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1.6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5.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6.8%</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37.6%</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6.1</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latin typeface="Nexa Book"/>
                        </a:defRPr>
                      </a:pPr>
                      <a:r>
                        <a:t>0.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501629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46885" y="1387069"/>
            <a:ext cx="2380754" cy="172037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7444"/>
            <a:ext cx="2369897" cy="125426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46885" y="3107444"/>
            <a:ext cx="2380754" cy="12542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69897" cy="17203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61738313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Bel | Aperitif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744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0854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836575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84971" y="1387069"/>
            <a:ext cx="3042668" cy="171327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0347"/>
            <a:ext cx="1707983" cy="126136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84971" y="3100347"/>
            <a:ext cx="3042668" cy="12613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07983" cy="17132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5948476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Total Fromage | Bel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034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4662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07097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08849" y="1387069"/>
            <a:ext cx="3218790" cy="178190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68978"/>
            <a:ext cx="1531861" cy="119273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08849" y="3168978"/>
            <a:ext cx="3218790" cy="11927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31861" cy="17819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7606525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Total Fromage | Bel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6897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7050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190812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359603" y="1387069"/>
            <a:ext cx="2968036" cy="167424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61318"/>
            <a:ext cx="1782615" cy="130039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359603" y="3061318"/>
            <a:ext cx="2968036" cy="130039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82615" cy="167424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5442722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Total Fromage | Bel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6131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92126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38627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719889" y="1387069"/>
            <a:ext cx="2607750" cy="174777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34846"/>
            <a:ext cx="2142901" cy="122686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719889" y="3134846"/>
            <a:ext cx="2607750" cy="122686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142901" cy="174777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8031308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Bel | Soft Cheese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3484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8154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256321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71801" y="1387069"/>
            <a:ext cx="3055838" cy="176312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50190"/>
            <a:ext cx="1694813" cy="121151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71801" y="3150190"/>
            <a:ext cx="3055838" cy="121151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694813" cy="176312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7579965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Total Fromage | Bel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5019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3345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06012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92756" y="1387069"/>
            <a:ext cx="3034883" cy="178767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74742"/>
            <a:ext cx="1715768" cy="118696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92756" y="3174742"/>
            <a:ext cx="3034883" cy="118696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15768" cy="178767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87862059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Aperitif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7474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5441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342725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31395" y="1387069"/>
            <a:ext cx="3796244" cy="149663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83700"/>
            <a:ext cx="954407" cy="147800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31395" y="2883700"/>
            <a:ext cx="3796244" cy="14780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54407" cy="14966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526913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Total Fromage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837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9305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644860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27118" y="1387069"/>
            <a:ext cx="2800521" cy="164495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32020"/>
            <a:ext cx="1950130" cy="132968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27118" y="3032020"/>
            <a:ext cx="2800521" cy="132968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50130" cy="164495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48666627"/>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Enfant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3202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8877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44503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87549" y="1387069"/>
            <a:ext cx="3940090" cy="19810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68119"/>
            <a:ext cx="810561" cy="9935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87549" y="3368119"/>
            <a:ext cx="3940090" cy="9935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10561" cy="19810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165155195"/>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Enfant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681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194920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95740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14003" y="1387069"/>
            <a:ext cx="3813636" cy="17942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81365"/>
            <a:ext cx="937015" cy="11803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14003" y="3181365"/>
            <a:ext cx="3813636" cy="11803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37015" cy="17942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30763272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Total Fromage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813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07566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6143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808683" y="1387069"/>
            <a:ext cx="1518956" cy="124652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633596"/>
            <a:ext cx="3231695" cy="172811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808683" y="2633596"/>
            <a:ext cx="1518956" cy="172811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3231695" cy="124652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8255215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Aperitif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63359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37034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569376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60266" y="1387069"/>
            <a:ext cx="2867373" cy="148135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68424"/>
            <a:ext cx="1883278" cy="149328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60266" y="2868424"/>
            <a:ext cx="2867373" cy="149328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83278" cy="148135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24713000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Soft Cheese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6842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2192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553309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575445" y="1387069"/>
            <a:ext cx="3752194" cy="181803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05102"/>
            <a:ext cx="998457" cy="115660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575445" y="3205102"/>
            <a:ext cx="3752194" cy="115660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998457" cy="181803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2304310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Soft Cheese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0510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3710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610096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383906" y="1387069"/>
            <a:ext cx="1943733" cy="136678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753858"/>
            <a:ext cx="2806918" cy="160785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383906" y="2753858"/>
            <a:ext cx="1943733" cy="160785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06918" cy="136678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29468043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Frais A Tartiner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7538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4556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92778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08823" y="1387069"/>
            <a:ext cx="3718816" cy="164654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33613"/>
            <a:ext cx="1031835" cy="132809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08823" y="3033613"/>
            <a:ext cx="3718816" cy="13280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31835" cy="16465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1321839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Bel | Aperitif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336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17048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127104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7473" y="1387069"/>
            <a:ext cx="1900166" cy="150318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90254"/>
            <a:ext cx="2850485" cy="147145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7473" y="2890254"/>
            <a:ext cx="1900166" cy="147145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50485" cy="150318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59028909"/>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Salade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9025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8913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0861658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31347" y="1387069"/>
            <a:ext cx="2296292" cy="147067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57745"/>
            <a:ext cx="2454359" cy="150396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31347" y="2857745"/>
            <a:ext cx="2296292" cy="150396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54359" cy="147067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49240671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Frais A Tartiner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5774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9300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08359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031000" y="1387069"/>
            <a:ext cx="2296639" cy="165903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6108"/>
            <a:ext cx="2454012" cy="131560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031000" y="3046108"/>
            <a:ext cx="2296639" cy="131560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454012" cy="165903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8397894"/>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Item | Bel | Salade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610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9265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385100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Total Fromage | Bel | Intermarche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635323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ctor | Total Fromage | Bel | Carrefour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1"/>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769961">
                <a:tc>
                  <a:txBody>
                    <a:bodyPr/>
                    <a:lstStyle/>
                    <a:p>
                      <a:pPr algn="ctr">
                        <a:defRPr sz="800">
                          <a:latin typeface="Nexa Book"/>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769961">
                <a:tc>
                  <a:txBody>
                    <a:bodyPr/>
                    <a:lstStyle/>
                    <a:p>
                      <a:pPr algn="ctr">
                        <a:defRPr sz="800">
                          <a:latin typeface="Nexa Book"/>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769961">
                <a:tc>
                  <a:txBody>
                    <a:bodyPr/>
                    <a:lstStyle/>
                    <a:p>
                      <a:pPr algn="ctr">
                        <a:defRPr sz="800">
                          <a:latin typeface="Nexa Book"/>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769961">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067799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Total Fromage | Bel | Intermarche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89"/>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513307">
                <a:tc>
                  <a:txBody>
                    <a:bodyPr/>
                    <a:lstStyle/>
                    <a:p>
                      <a:pPr algn="ctr">
                        <a:defRPr sz="800">
                          <a:latin typeface="Nexa Book"/>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513307">
                <a:tc>
                  <a:txBody>
                    <a:bodyPr/>
                    <a:lstStyle/>
                    <a:p>
                      <a:pPr algn="ctr">
                        <a:defRPr sz="800">
                          <a:latin typeface="Nexa Book"/>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513307">
                <a:tc>
                  <a:txBody>
                    <a:bodyPr/>
                    <a:lstStyle/>
                    <a:p>
                      <a:pPr algn="ctr">
                        <a:defRPr sz="800">
                          <a:latin typeface="Nexa Book"/>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513307">
                <a:tc>
                  <a:txBody>
                    <a:bodyPr/>
                    <a:lstStyle/>
                    <a:p>
                      <a:pPr algn="ctr">
                        <a:defRPr sz="800">
                          <a:latin typeface="Nexa Book"/>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25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513307">
                <a:tc>
                  <a:txBody>
                    <a:bodyPr/>
                    <a:lstStyle/>
                    <a:p>
                      <a:pPr algn="ctr">
                        <a:defRPr sz="800">
                          <a:latin typeface="Nexa Book"/>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513307">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3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639479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t>DATA SOURCE: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t>Trade Margin Analysis by Segment | Total Fromage | Bel | Carrefour | P12M</a:t>
            </a:r>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3593"/>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439978">
                <a:tc>
                  <a:txBody>
                    <a:bodyPr/>
                    <a:lstStyle/>
                    <a:p>
                      <a:pPr algn="ctr">
                        <a:defRPr sz="800">
                          <a:latin typeface="Nexa Book"/>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439978">
                <a:tc>
                  <a:txBody>
                    <a:bodyPr/>
                    <a:lstStyle/>
                    <a:p>
                      <a:pPr algn="ctr">
                        <a:defRPr sz="800">
                          <a:latin typeface="Nexa Book"/>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439978">
                <a:tc>
                  <a:txBody>
                    <a:bodyPr/>
                    <a:lstStyle/>
                    <a:p>
                      <a:pPr algn="ctr">
                        <a:defRPr sz="800">
                          <a:latin typeface="Nexa Book"/>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439978">
                <a:tc>
                  <a:txBody>
                    <a:bodyPr/>
                    <a:lstStyle/>
                    <a:p>
                      <a:pPr algn="ctr">
                        <a:defRPr sz="800">
                          <a:latin typeface="Nexa Book"/>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439978">
                <a:tc>
                  <a:txBody>
                    <a:bodyPr/>
                    <a:lstStyle/>
                    <a:p>
                      <a:pPr algn="ctr">
                        <a:defRPr sz="800">
                          <a:latin typeface="Nexa Book"/>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439978">
                <a:tc>
                  <a:txBody>
                    <a:bodyPr/>
                    <a:lstStyle/>
                    <a:p>
                      <a:pPr algn="ctr">
                        <a:defRPr sz="800">
                          <a:latin typeface="Nexa Book"/>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ok"/>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439978">
                <a:tc>
                  <a:txBody>
                    <a:bodyPr/>
                    <a:lstStyle/>
                    <a:p>
                      <a:pPr algn="ct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20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4</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3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1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a:defRPr sz="800">
                          <a:latin typeface="Nexa Bold"/>
                        </a:defRPr>
                      </a:pPr>
                      <a: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defRPr sz="800">
                          <a:latin typeface="Nexa Bold"/>
                        </a:defRPr>
                      </a:pPr>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148424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Aperitif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el Boursin Aperitif Roules Aperitif Aperitif 1 Ct X 100Gr</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Jambon Fume &amp; Trio De Noix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421903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Total Fromage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96Gr 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5487307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Enfant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18+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llegee Fromage Fondu Boite Ronde Allege 1X267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Bio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ro Fromage Fondu Boite Ronde Jambon 1X133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hevr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2747535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29563" y="1387069"/>
            <a:ext cx="2798076" cy="172279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9862"/>
            <a:ext cx="1952575" cy="125184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29563" y="3109862"/>
            <a:ext cx="2798076" cy="125184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52575" cy="172279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25887319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Bel | Enfant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986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9122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346109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Enfant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24+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18+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28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llegee Fromage Fondu Boite Ronde Allege 1X267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Bio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37529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Total Fromage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24+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175291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Aperitif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el Boursin Aperitif Roules Aperitif Aperitif 1 Ct X 100Gr</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Jambon Fume &amp; Trio De Noix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521960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Soft Cheese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96Gr 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2571382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Soft Cheese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24+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28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569922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Frais A Tartiner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96Gr 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Onctueux Fromage Frais A Tartiner Afh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21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Figue Et 3 Noix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Poivr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8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320Gr 16+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3 Noix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9849845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Salade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Figue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boulette Echalote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el Boursin Salade &amp; Aperitif Soft Cheese Salade 1 Ct X 120Gr</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tron Romarin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Noisette Et 3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658233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Frais A Tartiner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Onctueux Fromage Frais A Tartiner Afh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96Gr 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Figue Et 3 Noix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Poivr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8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Truff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21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955991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el | Salade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boulette Echalote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Figue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el Boursin Salade &amp; Aperitif Soft Cheese Salade 1 Ct X 120Gr</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tron Romarin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Noisette Et 3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9097159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oursin | Aperitif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62469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62469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62469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62469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el Boursin Aperitif Roules Aperitif Aperitif 1 Ct X 100Gr</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62469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Jambon Fume &amp; Trio De Noix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648000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20711" y="1387069"/>
            <a:ext cx="2406928" cy="184898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36053"/>
            <a:ext cx="2343723" cy="112565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20711" y="3236053"/>
            <a:ext cx="2406928" cy="112565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43723" cy="184898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1624576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Bel | Frais A Tartiner | Carrefour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3605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8236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454128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Kiri | Total Fromage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18+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Bio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hevr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21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916240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La Vache Qui Rit | Total Fromage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llegee Fromage Fondu Boite Ronde Allege 1X267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ro Fromage Fondu Boite Ronde Jambon 1X133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24+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8183427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oursin | Total Fromage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Onctueux Fromage Frais A Tartiner Afh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96Gr 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Figue Et 3 Noix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Basilic &amp; Jambon Fume Tomat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Poivr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boulette Echalote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123901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Kiri | Enfant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18+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Bio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hevr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3699669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La Vache Qui Rit | Enfant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llegee Fromage Fondu Boite Ronde Allege 1X267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ro Fromage Fondu Boite Ronde Jambon 1X133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24+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406002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Kiri | Enfant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1"/>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44620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44620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44620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44620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44620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18+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44620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44620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Bio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103476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La Vache Qui Rit | Enfant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3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24+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28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ro Fromage Fondu Boite Ronde Jambon 1X133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llegee Fromage Fondu Boite Ronde Allege 1X267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Bio Fromage Fondu Boite Ronde 1X128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1304245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Kiri | Total Fromage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18+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21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Bio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4389937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La Vache Qui Rit | Total Fromage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3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24+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28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ro Fromage Fondu Boite Ronde Jambon 1X133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llegee Fromage Fondu Boite Ronde Allege 1X267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Bio Fromage Fondu Boite Ronde 1X128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0603462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oursin | Total Fromage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96Gr 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Onctueux Fromage Frais A Tartiner Afh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Figue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boulette Echalote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Figue Et 3 Noix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tron Romarin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8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434778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24684" y="1387069"/>
            <a:ext cx="2402955" cy="167347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60540"/>
            <a:ext cx="2347696" cy="130116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24684" y="3060540"/>
            <a:ext cx="2402955" cy="13011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47696" cy="16734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863165058"/>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Bel | Total Fromage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6054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8634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06553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oursin | Aperitif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780862">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Afh Et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780862">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Ciboulette &amp; Echalote Jambon Fume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780862">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el Boursin Aperitif Roules Aperitif Aperitif 1 Ct X 100Gr</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780862">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Aperitif Roules Fromage Frais Roule Jambon Fume &amp; Trio De Noix Boite 1X100Gr 2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918419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Kiri | Soft Cheese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839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839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839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8395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8395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8395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18+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8395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8395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Bio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8395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hevr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8395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8395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21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509118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La Vache Qui Rit | Soft Cheese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0"/>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90431">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90431">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90431">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90431">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90431">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90431">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llegee Fromage Fondu Boite Ronde Allege 1X267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90431">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ro Fromage Fondu Boite Ronde Jambon 1X133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90431">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24+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0566763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3</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oursin | Soft Cheese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Onctueux Fromage Frais A Tartiner Afh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96Gr 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Figue Et 3 Noix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Poivr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boulette Echalote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Figue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tron Romarin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Noisette Et 3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08724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Kiri | Soft Cheese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31234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31234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31234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31234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216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31234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Creme Fromage Blanc Frais Carre 1X432Gr 18+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31234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Gouter Fromage Blanc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312345">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312345">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21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312345">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Bio Fromage Blanc Frais Carre 1X144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312345">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7435760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La Vache Qui Rit | Soft Cheese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384Gr 2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3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92Gr 12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3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512Gr 24+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175Gr 5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128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Pik Et Croq' Fromage Fondu Dips Boite 1X280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ro Fromage Fondu Boite Ronde Jambon 1X133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Allegee Fromage Fondu Boite Ronde Allege 1X267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Bio Fromage Fondu Boite Ronde 1X128Gr 8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La Vache Qui Rit Nature Fromage Fondu Boite Ronde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6101432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oursin | Soft Cheese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96Gr 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Onctueux Fromage Frais A Tartiner Afh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Figue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boulette Echalote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Figue Et 3 Noix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el Boursin Salade &amp; Aperitif Soft Cheese Salade 1 Ct X 120Gr</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tron Romarin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8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Noisette Et 3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3659581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Kiri | Frais A Tartiner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21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402412944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oursin | Frais A Tartiner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96Gr 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Onctueux Fromage Frais A Tartiner Afh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Figue Et 3 Noix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Poivr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8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320Gr 16+4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Onctueux Fromage Frais A Tartiner Afh 1X21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a:defRPr sz="800">
                          <a:latin typeface="Nexa Book"/>
                        </a:defRPr>
                      </a:pPr>
                      <a: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3 Noix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a:defRPr sz="800">
                          <a:latin typeface="Nexa Book"/>
                        </a:defRPr>
                      </a:pPr>
                      <a: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3 Noix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a:defRPr sz="800">
                          <a:latin typeface="Nexa Book"/>
                        </a:defRPr>
                      </a:pPr>
                      <a: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Truff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2960057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oursin | Salade | Carrefour</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Figue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boulette Echalote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7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el Boursin Salade &amp; Aperitif Soft Cheese Salade 1 Ct X 120Gr</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tron Romarin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Noisette Et 3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72150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97125" y="1387069"/>
            <a:ext cx="2730514" cy="169272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9797"/>
            <a:ext cx="2020137" cy="128191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97125" y="3079797"/>
            <a:ext cx="2730514" cy="128191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20137" cy="169272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113829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Bel | Soft Cheese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979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5878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391379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0</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Kiri | Frais A Tartiner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041150">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1041150">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1041150">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Kiri Delicieusement Fouette Fromage Frais A Tartiner 1X21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17419376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1</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oursin | Frais A Tartiner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56"/>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60287">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2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60287">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60287">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60287">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Onctueux Fromage Frais A Tartiner Afh 1X125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60287">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96Gr 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60287">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Figue Et 3 Noix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60287">
                <a:tc>
                  <a:txBody>
                    <a:bodyPr/>
                    <a:lstStyle/>
                    <a:p>
                      <a:pPr algn="ctr">
                        <a:defRPr sz="800">
                          <a:latin typeface="Nexa Book"/>
                        </a:defRPr>
                      </a:pPr>
                      <a: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60287">
                <a:tc>
                  <a:txBody>
                    <a:bodyPr/>
                    <a:lstStyle/>
                    <a:p>
                      <a:pPr algn="ctr">
                        <a:defRPr sz="800">
                          <a:latin typeface="Nexa Book"/>
                        </a:defRPr>
                      </a:pPr>
                      <a: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1X256Gr 16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60287">
                <a:tc>
                  <a:txBody>
                    <a:bodyPr/>
                    <a:lstStyle/>
                    <a:p>
                      <a:pPr algn="ctr">
                        <a:defRPr sz="800">
                          <a:latin typeface="Nexa Book"/>
                        </a:defRPr>
                      </a:pPr>
                      <a: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Poivr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60287">
                <a:tc>
                  <a:txBody>
                    <a:bodyPr/>
                    <a:lstStyle/>
                    <a:p>
                      <a:pPr algn="ctr">
                        <a:defRPr sz="800">
                          <a:latin typeface="Nexa Book"/>
                        </a:defRPr>
                      </a:pPr>
                      <a: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Ciboulette &amp; Echalote 1X160Gr 10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60287">
                <a:tc>
                  <a:txBody>
                    <a:bodyPr/>
                    <a:lstStyle/>
                    <a:p>
                      <a:pPr algn="ctr">
                        <a:defRPr sz="800">
                          <a:latin typeface="Nexa Book"/>
                        </a:defRPr>
                      </a:pPr>
                      <a: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Afh Boite 1X8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60287">
                <a:tc>
                  <a:txBody>
                    <a:bodyPr/>
                    <a:lstStyle/>
                    <a:p>
                      <a:pPr algn="ctr">
                        <a:defRPr sz="800">
                          <a:latin typeface="Nexa Book"/>
                        </a:defRPr>
                      </a:pPr>
                      <a: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Classique Fromage Frais A Tartiner Truffe Boite 1X15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8519932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2</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t>DATA SOURCE: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t>SKU KPIs Summary | Boursin | Salade | Intermarche</a:t>
            </a:r>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520575">
                <a:tc>
                  <a:txBody>
                    <a:bodyPr/>
                    <a:lstStyle/>
                    <a:p>
                      <a:pPr algn="ctr">
                        <a:defRPr sz="800">
                          <a:latin typeface="Nexa Book"/>
                        </a:defRPr>
                      </a:pPr>
                      <a: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Afh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520575">
                <a:tc>
                  <a:txBody>
                    <a:bodyPr/>
                    <a:lstStyle/>
                    <a:p>
                      <a:pPr algn="ctr">
                        <a:defRPr sz="800">
                          <a:latin typeface="Nexa Book"/>
                        </a:defRPr>
                      </a:pPr>
                      <a: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boulette Echalote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8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520575">
                <a:tc>
                  <a:txBody>
                    <a:bodyPr/>
                    <a:lstStyle/>
                    <a:p>
                      <a:pPr algn="ctr">
                        <a:defRPr sz="800">
                          <a:latin typeface="Nexa Book"/>
                        </a:defRPr>
                      </a:pPr>
                      <a: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Figue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5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3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520575">
                <a:tc>
                  <a:txBody>
                    <a:bodyPr/>
                    <a:lstStyle/>
                    <a:p>
                      <a:pPr algn="ctr">
                        <a:defRPr sz="800">
                          <a:latin typeface="Nexa Book"/>
                        </a:defRPr>
                      </a:pPr>
                      <a: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el Boursin Salade &amp; Aperitif Soft Cheese Salade 1 Ct X 120Gr</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4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520575">
                <a:tc>
                  <a:txBody>
                    <a:bodyPr/>
                    <a:lstStyle/>
                    <a:p>
                      <a:pPr algn="ctr">
                        <a:defRPr sz="800">
                          <a:latin typeface="Nexa Book"/>
                        </a:defRPr>
                      </a:pPr>
                      <a: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Citron Romarin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2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520575">
                <a:tc>
                  <a:txBody>
                    <a:bodyPr/>
                    <a:lstStyle/>
                    <a:p>
                      <a:pPr algn="ctr">
                        <a:defRPr sz="800">
                          <a:latin typeface="Nexa Book"/>
                        </a:defRPr>
                      </a:pPr>
                      <a: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Boursin Salade &amp; Aperitif Fromage Frais Des Noisette Et 3 Noix 1X120Gr 1P</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defRPr sz="800">
                          <a:latin typeface="Nexa Book"/>
                        </a:defRPr>
                      </a:pPr>
                      <a:r>
                        <a:t>0.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defRPr sz="800">
                          <a:latin typeface="Nexa Book"/>
                        </a:defRPr>
                      </a:pPr>
                      <a:r>
                        <a:t>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defRPr sz="800">
                          <a:latin typeface="Nexa Book"/>
                        </a:defRPr>
                      </a:pPr>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39952839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5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1883680">
                  <a:extLst>
                    <a:ext uri="{9D8B030D-6E8A-4147-A177-3AD203B41FA5}">
                      <a16:colId xmlns:a16="http://schemas.microsoft.com/office/drawing/2014/main" val="2214050810"/>
                    </a:ext>
                  </a:extLst>
                </a:gridCol>
                <a:gridCol w="1883680">
                  <a:extLst>
                    <a:ext uri="{9D8B030D-6E8A-4147-A177-3AD203B41FA5}">
                      <a16:colId xmlns:a16="http://schemas.microsoft.com/office/drawing/2014/main" val="704225536"/>
                    </a:ext>
                  </a:extLst>
                </a:gridCol>
                <a:gridCol w="1883680">
                  <a:extLst>
                    <a:ext uri="{9D8B030D-6E8A-4147-A177-3AD203B41FA5}">
                      <a16:colId xmlns:a16="http://schemas.microsoft.com/office/drawing/2014/main" val="1285391802"/>
                    </a:ext>
                  </a:extLst>
                </a:gridCol>
                <a:gridCol w="1883680">
                  <a:extLst>
                    <a:ext uri="{9D8B030D-6E8A-4147-A177-3AD203B41FA5}">
                      <a16:colId xmlns:a16="http://schemas.microsoft.com/office/drawing/2014/main" val="3180695831"/>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Intermarch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rrefour</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426821">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426821">
                <a:tc rowSpan="2">
                  <a:txBody>
                    <a:bodyPr/>
                    <a:lstStyle/>
                    <a:p>
                      <a:pPr algn="l">
                        <a:defRPr sz="1000" b="0">
                          <a:latin typeface="Nexa Bold"/>
                        </a:defRPr>
                      </a:pPr>
                      <a:r>
                        <a:t>Soft Chees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1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426821">
                <a:tc rowSpan="2">
                  <a:txBody>
                    <a:bodyPr/>
                    <a:lstStyle/>
                    <a:p>
                      <a:pPr algn="l">
                        <a:defRPr sz="1000" b="0">
                          <a:latin typeface="Nexa Bold"/>
                        </a:defRPr>
                      </a:pPr>
                      <a:r>
                        <a:t>Aperitif</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426821">
                <a:tc rowSpan="2">
                  <a:txBody>
                    <a:bodyPr/>
                    <a:lstStyle/>
                    <a:p>
                      <a:pPr algn="l">
                        <a:defRPr sz="1000" b="0">
                          <a:latin typeface="Nexa Bold"/>
                        </a:defRPr>
                      </a:pPr>
                      <a:r>
                        <a:t>Alternative Vegeta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426821">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782951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per kg (NS/kg)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51" cy="354786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1883680">
                  <a:extLst>
                    <a:ext uri="{9D8B030D-6E8A-4147-A177-3AD203B41FA5}">
                      <a16:colId xmlns:a16="http://schemas.microsoft.com/office/drawing/2014/main" val="2214050810"/>
                    </a:ext>
                  </a:extLst>
                </a:gridCol>
                <a:gridCol w="1883680">
                  <a:extLst>
                    <a:ext uri="{9D8B030D-6E8A-4147-A177-3AD203B41FA5}">
                      <a16:colId xmlns:a16="http://schemas.microsoft.com/office/drawing/2014/main" val="704225536"/>
                    </a:ext>
                  </a:extLst>
                </a:gridCol>
                <a:gridCol w="1883680">
                  <a:extLst>
                    <a:ext uri="{9D8B030D-6E8A-4147-A177-3AD203B41FA5}">
                      <a16:colId xmlns:a16="http://schemas.microsoft.com/office/drawing/2014/main" val="1285391802"/>
                    </a:ext>
                  </a:extLst>
                </a:gridCol>
                <a:gridCol w="1883680">
                  <a:extLst>
                    <a:ext uri="{9D8B030D-6E8A-4147-A177-3AD203B41FA5}">
                      <a16:colId xmlns:a16="http://schemas.microsoft.com/office/drawing/2014/main" val="3180695831"/>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Intermarch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rrefour</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43897">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7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243897">
                <a:tc rowSpan="2">
                  <a:txBody>
                    <a:bodyPr/>
                    <a:lstStyle/>
                    <a:p>
                      <a:pPr algn="l">
                        <a:defRPr sz="1000" b="0">
                          <a:latin typeface="Nexa Bold"/>
                        </a:defRPr>
                      </a:pPr>
                      <a:r>
                        <a:t>Enfan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9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3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43897">
                <a:tc rowSpan="2">
                  <a:txBody>
                    <a:bodyPr/>
                    <a:lstStyle/>
                    <a:p>
                      <a:pPr algn="l">
                        <a:defRPr sz="1000" b="0">
                          <a:latin typeface="Nexa Bold"/>
                        </a:defRPr>
                      </a:pPr>
                      <a:r>
                        <a:t>Aperitif</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8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43897">
                <a:tc rowSpan="2">
                  <a:txBody>
                    <a:bodyPr/>
                    <a:lstStyle/>
                    <a:p>
                      <a:pPr algn="l">
                        <a:defRPr sz="1000" b="0">
                          <a:latin typeface="Nexa Bold"/>
                        </a:defRPr>
                      </a:pPr>
                      <a:r>
                        <a:t>Frais A Tartin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6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4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243897">
                <a:tc rowSpan="2">
                  <a:txBody>
                    <a:bodyPr/>
                    <a:lstStyle/>
                    <a:p>
                      <a:pPr algn="l">
                        <a:defRPr sz="1000" b="0">
                          <a:latin typeface="Nexa Bold"/>
                        </a:defRPr>
                      </a:pPr>
                      <a:r>
                        <a:t>Salad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6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4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243897">
                <a:tc rowSpan="2">
                  <a:txBody>
                    <a:bodyPr/>
                    <a:lstStyle/>
                    <a:p>
                      <a:pPr algn="l">
                        <a:defRPr sz="1000" b="0">
                          <a:latin typeface="Nexa Bold"/>
                        </a:defRPr>
                      </a:pPr>
                      <a:r>
                        <a:t>Alternative Vegeta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243897">
                <a:tc rowSpan="2">
                  <a:txBody>
                    <a:bodyPr/>
                    <a:lstStyle/>
                    <a:p>
                      <a:pPr algn="l">
                        <a:defRPr sz="1000" b="0">
                          <a:latin typeface="Nexa Bold"/>
                        </a:defRPr>
                      </a:pPr>
                      <a:r>
                        <a:t>Brebi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4389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2121637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Carrefour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Total Fromag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oft Chees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Aperitif</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02940">
                <a:tc rowSpan="2">
                  <a:txBody>
                    <a:bodyPr/>
                    <a:lstStyle/>
                    <a:p>
                      <a:pPr algn="l">
                        <a:defRPr sz="1000" b="0">
                          <a:latin typeface="Nexa Bold"/>
                        </a:defRPr>
                      </a:pPr>
                      <a:r>
                        <a:t>Be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1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202940">
                <a:tc rowSpan="2">
                  <a:txBody>
                    <a:bodyPr/>
                    <a:lstStyle/>
                    <a:p>
                      <a:pPr algn="l">
                        <a:defRPr sz="1000" b="0">
                          <a:latin typeface="Nexa Bold"/>
                        </a:defRPr>
                      </a:pPr>
                      <a:r>
                        <a:t>La Vache Qui Ri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202940">
                <a:tc rowSpan="2">
                  <a:txBody>
                    <a:bodyPr/>
                    <a:lstStyle/>
                    <a:p>
                      <a:pPr algn="l">
                        <a:defRPr sz="1000" b="0">
                          <a:latin typeface="Nexa Bold"/>
                        </a:defRPr>
                      </a:pPr>
                      <a:r>
                        <a:t>Mini Babybe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02940">
                <a:tc rowSpan="2">
                  <a:txBody>
                    <a:bodyPr/>
                    <a:lstStyle/>
                    <a:p>
                      <a:pPr algn="l">
                        <a:defRPr sz="1000" b="0">
                          <a:latin typeface="Nexa Bold"/>
                        </a:defRPr>
                      </a:pPr>
                      <a:r>
                        <a:t>Apericub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0.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8614305"/>
                  </a:ext>
                </a:extLst>
              </a:tr>
              <a:tr h="202940">
                <a:tc rowSpan="2">
                  <a:txBody>
                    <a:bodyPr/>
                    <a:lstStyle/>
                    <a:p>
                      <a:pPr algn="l">
                        <a:defRPr sz="1000" b="0">
                          <a:latin typeface="Nexa Bold"/>
                        </a:defRPr>
                      </a:pPr>
                      <a:r>
                        <a:t>Kiri</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02940">
                <a:tc rowSpan="2">
                  <a:txBody>
                    <a:bodyPr/>
                    <a:lstStyle/>
                    <a:p>
                      <a:pPr algn="l">
                        <a:defRPr sz="1000" b="0">
                          <a:latin typeface="Nexa Bold"/>
                        </a:defRPr>
                      </a:pPr>
                      <a:r>
                        <a:t>Bours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9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8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1.4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02940">
                <a:tc rowSpan="2">
                  <a:txBody>
                    <a:bodyPr/>
                    <a:lstStyle/>
                    <a:p>
                      <a:pPr algn="l">
                        <a:defRPr sz="1000" b="0">
                          <a:latin typeface="Nexa Bold"/>
                        </a:defRPr>
                      </a:pPr>
                      <a:r>
                        <a:t>Nurishh</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02940">
                <a:tc rowSpan="2">
                  <a:txBody>
                    <a:bodyPr/>
                    <a:lstStyle/>
                    <a:p>
                      <a:pPr algn="l">
                        <a:defRPr sz="1000" b="0">
                          <a:latin typeface="Nexa Bold"/>
                        </a:defRPr>
                      </a:pPr>
                      <a:r>
                        <a:t>Limian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4862561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Intermarche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8"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241243">
                  <a:extLst>
                    <a:ext uri="{9D8B030D-6E8A-4147-A177-3AD203B41FA5}">
                      <a16:colId xmlns:a16="http://schemas.microsoft.com/office/drawing/2014/main" val="2214050810"/>
                    </a:ext>
                  </a:extLst>
                </a:gridCol>
                <a:gridCol w="1241243">
                  <a:extLst>
                    <a:ext uri="{9D8B030D-6E8A-4147-A177-3AD203B41FA5}">
                      <a16:colId xmlns:a16="http://schemas.microsoft.com/office/drawing/2014/main" val="704225536"/>
                    </a:ext>
                  </a:extLst>
                </a:gridCol>
                <a:gridCol w="1241243">
                  <a:extLst>
                    <a:ext uri="{9D8B030D-6E8A-4147-A177-3AD203B41FA5}">
                      <a16:colId xmlns:a16="http://schemas.microsoft.com/office/drawing/2014/main" val="1285391802"/>
                    </a:ext>
                  </a:extLst>
                </a:gridCol>
                <a:gridCol w="1241243">
                  <a:extLst>
                    <a:ext uri="{9D8B030D-6E8A-4147-A177-3AD203B41FA5}">
                      <a16:colId xmlns:a16="http://schemas.microsoft.com/office/drawing/2014/main" val="3180695831"/>
                    </a:ext>
                  </a:extLst>
                </a:gridCol>
                <a:gridCol w="1241243">
                  <a:extLst>
                    <a:ext uri="{9D8B030D-6E8A-4147-A177-3AD203B41FA5}">
                      <a16:colId xmlns:a16="http://schemas.microsoft.com/office/drawing/2014/main" val="3841440830"/>
                    </a:ext>
                  </a:extLst>
                </a:gridCol>
                <a:gridCol w="1241243">
                  <a:extLst>
                    <a:ext uri="{9D8B030D-6E8A-4147-A177-3AD203B41FA5}">
                      <a16:colId xmlns:a16="http://schemas.microsoft.com/office/drawing/2014/main" val="3330568015"/>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Total Fromag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Soft Chees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Aperitif</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31932">
                <a:tc rowSpan="2">
                  <a:txBody>
                    <a:bodyPr/>
                    <a:lstStyle/>
                    <a:p>
                      <a:pPr algn="l">
                        <a:defRPr sz="1000" b="0">
                          <a:latin typeface="Nexa Bold"/>
                        </a:defRPr>
                      </a:pPr>
                      <a:r>
                        <a:t>Be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3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0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Apericub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0.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La Vache Qui Ri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ours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2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1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19.0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Kiri</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Mini Babybe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Nurishh</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85894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Carrefour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1"/>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Total Fromag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Enfan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Frais A Tartiner</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a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02940">
                <a:tc rowSpan="2">
                  <a:txBody>
                    <a:bodyPr/>
                    <a:lstStyle/>
                    <a:p>
                      <a:pPr algn="l">
                        <a:defRPr sz="1000" b="0">
                          <a:latin typeface="Nexa Bold"/>
                        </a:defRPr>
                      </a:pPr>
                      <a:r>
                        <a:t>Be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77273872"/>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6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8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43937388"/>
                  </a:ext>
                </a:extLst>
              </a:tr>
              <a:tr h="202940">
                <a:tc rowSpan="2">
                  <a:txBody>
                    <a:bodyPr/>
                    <a:lstStyle/>
                    <a:p>
                      <a:pPr algn="l">
                        <a:defRPr sz="1000" b="0">
                          <a:latin typeface="Nexa Bold"/>
                        </a:defRPr>
                      </a:pPr>
                      <a:r>
                        <a:t>La Vache Qui Ri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3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437918048"/>
                  </a:ext>
                </a:extLst>
              </a:tr>
              <a:tr h="202940">
                <a:tc rowSpan="2">
                  <a:txBody>
                    <a:bodyPr/>
                    <a:lstStyle/>
                    <a:p>
                      <a:pPr algn="l">
                        <a:defRPr sz="1000" b="0">
                          <a:latin typeface="Nexa Bold"/>
                        </a:defRPr>
                      </a:pPr>
                      <a:r>
                        <a:t>Mini Babybe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02940">
                <a:tc rowSpan="2">
                  <a:txBody>
                    <a:bodyPr/>
                    <a:lstStyle/>
                    <a:p>
                      <a:pPr algn="l">
                        <a:defRPr sz="1000" b="0">
                          <a:latin typeface="Nexa Bold"/>
                        </a:defRPr>
                      </a:pPr>
                      <a:r>
                        <a:t>Apericub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02940">
                <a:tc rowSpan="2">
                  <a:txBody>
                    <a:bodyPr/>
                    <a:lstStyle/>
                    <a:p>
                      <a:pPr algn="l">
                        <a:defRPr sz="1000" b="0">
                          <a:latin typeface="Nexa Bold"/>
                        </a:defRPr>
                      </a:pPr>
                      <a:r>
                        <a:t>Kiri</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7.6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7.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855106508"/>
                  </a:ext>
                </a:extLst>
              </a:tr>
              <a:tr h="202940">
                <a:tc rowSpan="2">
                  <a:txBody>
                    <a:bodyPr/>
                    <a:lstStyle/>
                    <a:p>
                      <a:pPr algn="l">
                        <a:defRPr sz="1000" b="0">
                          <a:latin typeface="Nexa Bold"/>
                        </a:defRPr>
                      </a:pPr>
                      <a:r>
                        <a:t>Bours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9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9.59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4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47662994"/>
                  </a:ext>
                </a:extLst>
              </a:tr>
              <a:tr h="202940">
                <a:tc rowSpan="2">
                  <a:txBody>
                    <a:bodyPr/>
                    <a:lstStyle/>
                    <a:p>
                      <a:pPr algn="l">
                        <a:defRPr sz="1000" b="0">
                          <a:latin typeface="Nexa Bold"/>
                        </a:defRPr>
                      </a:pPr>
                      <a:r>
                        <a:t>Nurishh</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9.55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02940">
                <a:tc rowSpan="2">
                  <a:txBody>
                    <a:bodyPr/>
                    <a:lstStyle/>
                    <a:p>
                      <a:pPr algn="l">
                        <a:defRPr sz="1000" b="0">
                          <a:latin typeface="Nexa Bold"/>
                        </a:defRPr>
                      </a:pPr>
                      <a:r>
                        <a:t>Limiano</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02940">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3946422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per kg (NS/kg) and Gross Margin (GM%) | Intermarche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34"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930933">
                  <a:extLst>
                    <a:ext uri="{9D8B030D-6E8A-4147-A177-3AD203B41FA5}">
                      <a16:colId xmlns:a16="http://schemas.microsoft.com/office/drawing/2014/main" val="2214050810"/>
                    </a:ext>
                  </a:extLst>
                </a:gridCol>
                <a:gridCol w="930933">
                  <a:extLst>
                    <a:ext uri="{9D8B030D-6E8A-4147-A177-3AD203B41FA5}">
                      <a16:colId xmlns:a16="http://schemas.microsoft.com/office/drawing/2014/main" val="704225536"/>
                    </a:ext>
                  </a:extLst>
                </a:gridCol>
                <a:gridCol w="930933">
                  <a:extLst>
                    <a:ext uri="{9D8B030D-6E8A-4147-A177-3AD203B41FA5}">
                      <a16:colId xmlns:a16="http://schemas.microsoft.com/office/drawing/2014/main" val="1285391802"/>
                    </a:ext>
                  </a:extLst>
                </a:gridCol>
                <a:gridCol w="930933">
                  <a:extLst>
                    <a:ext uri="{9D8B030D-6E8A-4147-A177-3AD203B41FA5}">
                      <a16:colId xmlns:a16="http://schemas.microsoft.com/office/drawing/2014/main" val="3180695831"/>
                    </a:ext>
                  </a:extLst>
                </a:gridCol>
                <a:gridCol w="930933">
                  <a:extLst>
                    <a:ext uri="{9D8B030D-6E8A-4147-A177-3AD203B41FA5}">
                      <a16:colId xmlns:a16="http://schemas.microsoft.com/office/drawing/2014/main" val="3841440830"/>
                    </a:ext>
                  </a:extLst>
                </a:gridCol>
                <a:gridCol w="930933">
                  <a:extLst>
                    <a:ext uri="{9D8B030D-6E8A-4147-A177-3AD203B41FA5}">
                      <a16:colId xmlns:a16="http://schemas.microsoft.com/office/drawing/2014/main" val="3330568015"/>
                    </a:ext>
                  </a:extLst>
                </a:gridCol>
                <a:gridCol w="930933">
                  <a:extLst>
                    <a:ext uri="{9D8B030D-6E8A-4147-A177-3AD203B41FA5}">
                      <a16:colId xmlns:a16="http://schemas.microsoft.com/office/drawing/2014/main" val="3707381308"/>
                    </a:ext>
                  </a:extLst>
                </a:gridCol>
                <a:gridCol w="930933">
                  <a:extLst>
                    <a:ext uri="{9D8B030D-6E8A-4147-A177-3AD203B41FA5}">
                      <a16:colId xmlns:a16="http://schemas.microsoft.com/office/drawing/2014/main" val="407237014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Total Fromag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Enfan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Frais A Tartiner</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Salad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31932">
                <a:tc rowSpan="2">
                  <a:txBody>
                    <a:bodyPr/>
                    <a:lstStyle/>
                    <a:p>
                      <a:pPr algn="l">
                        <a:defRPr sz="1000" b="0">
                          <a:latin typeface="Nexa Bold"/>
                        </a:defRPr>
                      </a:pPr>
                      <a:r>
                        <a:t>Bel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9145958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9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1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91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37918048"/>
                  </a:ext>
                </a:extLst>
              </a:tr>
              <a:tr h="231932">
                <a:tc rowSpan="2">
                  <a:txBody>
                    <a:bodyPr/>
                    <a:lstStyle/>
                    <a:p>
                      <a:pPr algn="l">
                        <a:defRPr sz="1000" b="0">
                          <a:latin typeface="Nexa Bold"/>
                        </a:defRPr>
                      </a:pPr>
                      <a:r>
                        <a:t>Apericub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30506133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2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3140304161"/>
                  </a:ext>
                </a:extLst>
              </a:tr>
              <a:tr h="231932">
                <a:tc rowSpan="2">
                  <a:txBody>
                    <a:bodyPr/>
                    <a:lstStyle/>
                    <a:p>
                      <a:pPr algn="l">
                        <a:defRPr sz="1000" b="0">
                          <a:latin typeface="Nexa Bold"/>
                        </a:defRPr>
                      </a:pPr>
                      <a:r>
                        <a:t>La Vache Qui Ri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470711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6.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6.52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8614305"/>
                  </a:ext>
                </a:extLst>
              </a:tr>
              <a:tr h="231932">
                <a:tc rowSpan="2">
                  <a:txBody>
                    <a:bodyPr/>
                    <a:lstStyle/>
                    <a:p>
                      <a:pPr algn="l">
                        <a:defRPr sz="1000" b="0">
                          <a:latin typeface="Nexa Bold"/>
                        </a:defRPr>
                      </a:pPr>
                      <a:r>
                        <a:t>Boursi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430883866"/>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23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r>
                        <a:t>8.87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0.5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5106508"/>
                  </a:ext>
                </a:extLst>
              </a:tr>
              <a:tr h="231932">
                <a:tc rowSpan="2">
                  <a:txBody>
                    <a:bodyPr/>
                    <a:lstStyle/>
                    <a:p>
                      <a:pPr algn="l">
                        <a:defRPr sz="1000" b="0">
                          <a:latin typeface="Nexa Bold"/>
                        </a:defRPr>
                      </a:pPr>
                      <a:r>
                        <a:t>Kiri</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29801369"/>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8.28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8.2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9.76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2147662994"/>
                  </a:ext>
                </a:extLst>
              </a:tr>
              <a:tr h="231932">
                <a:tc rowSpan="2">
                  <a:txBody>
                    <a:bodyPr/>
                    <a:lstStyle/>
                    <a:p>
                      <a:pPr algn="l">
                        <a:defRPr sz="1000" b="0">
                          <a:latin typeface="Nexa Bold"/>
                        </a:defRPr>
                      </a:pPr>
                      <a:r>
                        <a:t>Mini Babybe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11.20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446762764"/>
                  </a:ext>
                </a:extLst>
              </a:tr>
              <a:tr h="231932">
                <a:tc rowSpan="2">
                  <a:txBody>
                    <a:bodyPr/>
                    <a:lstStyle/>
                    <a:p>
                      <a:pPr algn="l">
                        <a:defRPr sz="1000" b="0">
                          <a:latin typeface="Nexa Bold"/>
                        </a:defRPr>
                      </a:pPr>
                      <a:r>
                        <a:t>Nurishh</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23193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10.64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NS/Vol</a:t>
                      </a:r>
                    </a:p>
                    <a:p>
                      <a:pPr algn="ctr">
                        <a:defRPr sz="800" b="0">
                          <a:latin typeface="Nexa Book (Body)"/>
                        </a:defRPr>
                      </a:pPr>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tc>
                  <a:txBody>
                    <a:bodyPr/>
                    <a:lstStyle/>
                    <a:p>
                      <a:pPr algn="ctr">
                        <a:defRPr sz="800" b="0">
                          <a:latin typeface="Nexa Book (Body)"/>
                        </a:defRPr>
                      </a:pPr>
                      <a:r>
                        <a:t>GM%</a:t>
                      </a:r>
                    </a:p>
                    <a:p>
                      <a:pPr algn="ctr">
                        <a:defRPr sz="800" b="0">
                          <a:latin typeface="Nexa Book (Body)"/>
                        </a:defRPr>
                      </a:pPr>
                      <a:r>
                        <a:t>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FBF"/>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7640157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Total Fromage | Bel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oft Chees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tif</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lternative Vegeta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02580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97113" y="1387069"/>
            <a:ext cx="3630526" cy="15570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44069"/>
            <a:ext cx="1120125" cy="14176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97113" y="2944069"/>
            <a:ext cx="3630526" cy="14176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20125" cy="15570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614875193"/>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Bel | Aperitif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440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2587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4156889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ctor Spending pool split | Total Fromage | Bel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ctor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2453840">
                  <a:extLst>
                    <a:ext uri="{9D8B030D-6E8A-4147-A177-3AD203B41FA5}">
                      <a16:colId xmlns:a16="http://schemas.microsoft.com/office/drawing/2014/main" val="2678984805"/>
                    </a:ext>
                  </a:extLst>
                </a:gridCol>
                <a:gridCol w="2453840">
                  <a:extLst>
                    <a:ext uri="{9D8B030D-6E8A-4147-A177-3AD203B41FA5}">
                      <a16:colId xmlns:a16="http://schemas.microsoft.com/office/drawing/2014/main" val="4077376227"/>
                    </a:ext>
                  </a:extLst>
                </a:gridCol>
                <a:gridCol w="2453840">
                  <a:extLst>
                    <a:ext uri="{9D8B030D-6E8A-4147-A177-3AD203B41FA5}">
                      <a16:colId xmlns:a16="http://schemas.microsoft.com/office/drawing/2014/main" val="314355546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Soft Chees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tif</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lternative Vegeta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916575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Total Fromage | Bel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1472304">
                  <a:extLst>
                    <a:ext uri="{9D8B030D-6E8A-4147-A177-3AD203B41FA5}">
                      <a16:colId xmlns:a16="http://schemas.microsoft.com/office/drawing/2014/main" val="2678984805"/>
                    </a:ext>
                  </a:extLst>
                </a:gridCol>
                <a:gridCol w="1472304">
                  <a:extLst>
                    <a:ext uri="{9D8B030D-6E8A-4147-A177-3AD203B41FA5}">
                      <a16:colId xmlns:a16="http://schemas.microsoft.com/office/drawing/2014/main" val="4077376227"/>
                    </a:ext>
                  </a:extLst>
                </a:gridCol>
                <a:gridCol w="1472304">
                  <a:extLst>
                    <a:ext uri="{9D8B030D-6E8A-4147-A177-3AD203B41FA5}">
                      <a16:colId xmlns:a16="http://schemas.microsoft.com/office/drawing/2014/main" val="3143555463"/>
                    </a:ext>
                  </a:extLst>
                </a:gridCol>
                <a:gridCol w="1472304">
                  <a:extLst>
                    <a:ext uri="{9D8B030D-6E8A-4147-A177-3AD203B41FA5}">
                      <a16:colId xmlns:a16="http://schemas.microsoft.com/office/drawing/2014/main" val="2159604574"/>
                    </a:ext>
                  </a:extLst>
                </a:gridCol>
                <a:gridCol w="1472304">
                  <a:extLst>
                    <a:ext uri="{9D8B030D-6E8A-4147-A177-3AD203B41FA5}">
                      <a16:colId xmlns:a16="http://schemas.microsoft.com/office/drawing/2014/main" val="331229070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ais A Tartiner</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tif</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nfan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lternative Vegeta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3566846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Segment Spending pool split | Total Fromage | Bel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t>Segment Spending pool split (Replace with So What)</a:t>
            </a: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2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1472304">
                  <a:extLst>
                    <a:ext uri="{9D8B030D-6E8A-4147-A177-3AD203B41FA5}">
                      <a16:colId xmlns:a16="http://schemas.microsoft.com/office/drawing/2014/main" val="2678984805"/>
                    </a:ext>
                  </a:extLst>
                </a:gridCol>
                <a:gridCol w="1472304">
                  <a:extLst>
                    <a:ext uri="{9D8B030D-6E8A-4147-A177-3AD203B41FA5}">
                      <a16:colId xmlns:a16="http://schemas.microsoft.com/office/drawing/2014/main" val="4077376227"/>
                    </a:ext>
                  </a:extLst>
                </a:gridCol>
                <a:gridCol w="1472304">
                  <a:extLst>
                    <a:ext uri="{9D8B030D-6E8A-4147-A177-3AD203B41FA5}">
                      <a16:colId xmlns:a16="http://schemas.microsoft.com/office/drawing/2014/main" val="3143555463"/>
                    </a:ext>
                  </a:extLst>
                </a:gridCol>
                <a:gridCol w="1472304">
                  <a:extLst>
                    <a:ext uri="{9D8B030D-6E8A-4147-A177-3AD203B41FA5}">
                      <a16:colId xmlns:a16="http://schemas.microsoft.com/office/drawing/2014/main" val="2159604574"/>
                    </a:ext>
                  </a:extLst>
                </a:gridCol>
                <a:gridCol w="1472304">
                  <a:extLst>
                    <a:ext uri="{9D8B030D-6E8A-4147-A177-3AD203B41FA5}">
                      <a16:colId xmlns:a16="http://schemas.microsoft.com/office/drawing/2014/main" val="3312290703"/>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Frais A Tartiner</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tif</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Enfan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lternative Vegetal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Salade</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5207194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Aperitif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Apericube Edition Limitee Best Of Foot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Cocktail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Long Drink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Tonic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Afh Et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Incontournable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Nature Fromage Fondu Cube 1X125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Edition Limitee Saison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Edition Voyage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Campagne Fromage Fondu Cube Assortis 1X125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Ciboulette &amp; Echalote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Saveurs De L'Authentique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4982985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Total Fromage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ini Babybel Rouge Filet St Paulin Ferme 1X264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ni Babybel Rouge Filet St Paulin Ferme 1X132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Edition Limitee Best Of Foot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Cocktail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Long Drink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9095534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Enfant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ini Babybel Rouge Filet St Paulin Ferme 1X264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ni Babybel Rouge Filet St Paulin Ferme 1X132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ni Babybel Rouge Filet St Paulin Ferme 1X44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0179449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Enfant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ni Babybel Rouge Filet St Paulin Ferme 1X264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ni Babybel Rouge Filet St Paulin Ferme 1X132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512Gr 2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758385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Total Fromage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ni Babybel Rouge Filet St Paulin Ferme 1X264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ni Babybel Rouge Filet St Paulin Ferme 1X132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Edition Limitee Best Of Foot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Cocktail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5068877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Aperitif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Apericube Edition Limitee Best Of Foot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Cocktail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Long Drink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Afh Et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Tonic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Nature Fromage Fondu Cube 1X125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Edition Limitee Saison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Incontournable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Ciboulette &amp; Echalote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Campagne Fromage Fondu Cube Assortis 1X125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Best Of Des Saveurs Fromage Fondu Cube Assortis 1X125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Apericube Carrement Toque Fromage Fondu Cube Assortis 1X250Gr 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0420058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Soft Cheese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Mini Babybel Rouge Filet St Paulin Ferme 1X264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ni Babybel Rouge Filet St Paulin Ferme 1X132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073590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31223" y="1387069"/>
            <a:ext cx="2796416" cy="169660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3671"/>
            <a:ext cx="1954235" cy="127803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31223" y="3083671"/>
            <a:ext cx="2796416" cy="12780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54235" cy="16966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320398073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Brand | Bel | Enfant | Intermarche | P3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367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9288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496270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0</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Soft Cheese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ni Babybel Rouge Filet St Paulin Ferme 1X264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Mini Babybel Rouge Filet St Paulin Ferme 1X132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0.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0394385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1</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Frais A Tartiner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96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Onctueux Fromage Frais A Tartiner Afh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Figue Et 3 Noix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21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8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256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10503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2</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Salade | Carrefour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Salade &amp; Aperitif Fromage Frais Des Afh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boulette Echalote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Figue Noix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tron Romarin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l Boursin Salade &amp; Aperitif Soft Cheese Salade 1 Ct X 120Gr</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Noisette Et 3 Noix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7337083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3</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Frais A Tartiner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96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Onctueux Fromage Frais A Tartiner Afh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Figue Et 3 Noix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256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Poivr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2170695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4</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el | Salade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7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224689">
                  <a:extLst>
                    <a:ext uri="{9D8B030D-6E8A-4147-A177-3AD203B41FA5}">
                      <a16:colId xmlns:a16="http://schemas.microsoft.com/office/drawing/2014/main" val="2678984805"/>
                    </a:ext>
                  </a:extLst>
                </a:gridCol>
                <a:gridCol w="1224689">
                  <a:extLst>
                    <a:ext uri="{9D8B030D-6E8A-4147-A177-3AD203B41FA5}">
                      <a16:colId xmlns:a16="http://schemas.microsoft.com/office/drawing/2014/main" val="4077376227"/>
                    </a:ext>
                  </a:extLst>
                </a:gridCol>
                <a:gridCol w="1224689">
                  <a:extLst>
                    <a:ext uri="{9D8B030D-6E8A-4147-A177-3AD203B41FA5}">
                      <a16:colId xmlns:a16="http://schemas.microsoft.com/office/drawing/2014/main" val="3143555463"/>
                    </a:ext>
                  </a:extLst>
                </a:gridCol>
                <a:gridCol w="1224689">
                  <a:extLst>
                    <a:ext uri="{9D8B030D-6E8A-4147-A177-3AD203B41FA5}">
                      <a16:colId xmlns:a16="http://schemas.microsoft.com/office/drawing/2014/main" val="2159604574"/>
                    </a:ext>
                  </a:extLst>
                </a:gridCol>
                <a:gridCol w="1224689">
                  <a:extLst>
                    <a:ext uri="{9D8B030D-6E8A-4147-A177-3AD203B41FA5}">
                      <a16:colId xmlns:a16="http://schemas.microsoft.com/office/drawing/2014/main" val="3312290703"/>
                    </a:ext>
                  </a:extLst>
                </a:gridCol>
                <a:gridCol w="1224689">
                  <a:extLst>
                    <a:ext uri="{9D8B030D-6E8A-4147-A177-3AD203B41FA5}">
                      <a16:colId xmlns:a16="http://schemas.microsoft.com/office/drawing/2014/main" val="266411477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Salade &amp; Aperitif Fromage Frais Des Afh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boulette Echalote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Figue Noix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Noisette Et 3 Noix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Citron Romarin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l Boursin Salade &amp; Aperitif Soft Cheese Salade 1 Ct X 120Gr</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2499740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5</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oursin | Aperitif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69"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1469626">
                  <a:extLst>
                    <a:ext uri="{9D8B030D-6E8A-4147-A177-3AD203B41FA5}">
                      <a16:colId xmlns:a16="http://schemas.microsoft.com/office/drawing/2014/main" val="2678984805"/>
                    </a:ext>
                  </a:extLst>
                </a:gridCol>
                <a:gridCol w="1469626">
                  <a:extLst>
                    <a:ext uri="{9D8B030D-6E8A-4147-A177-3AD203B41FA5}">
                      <a16:colId xmlns:a16="http://schemas.microsoft.com/office/drawing/2014/main" val="4077376227"/>
                    </a:ext>
                  </a:extLst>
                </a:gridCol>
                <a:gridCol w="1469626">
                  <a:extLst>
                    <a:ext uri="{9D8B030D-6E8A-4147-A177-3AD203B41FA5}">
                      <a16:colId xmlns:a16="http://schemas.microsoft.com/office/drawing/2014/main" val="3143555463"/>
                    </a:ext>
                  </a:extLst>
                </a:gridCol>
                <a:gridCol w="1469626">
                  <a:extLst>
                    <a:ext uri="{9D8B030D-6E8A-4147-A177-3AD203B41FA5}">
                      <a16:colId xmlns:a16="http://schemas.microsoft.com/office/drawing/2014/main" val="2159604574"/>
                    </a:ext>
                  </a:extLst>
                </a:gridCol>
                <a:gridCol w="1469626">
                  <a:extLst>
                    <a:ext uri="{9D8B030D-6E8A-4147-A177-3AD203B41FA5}">
                      <a16:colId xmlns:a16="http://schemas.microsoft.com/office/drawing/2014/main" val="3312290703"/>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Aperitif Roules Fromage Frais Roule Afh Et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Ciboulette &amp; Echalote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Basilic &amp; Jambon Fume Tomat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Jambon Fume &amp; Trio De Noix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el Boursin Aperitif Roules Aperitif Aperitif 1 Ct X 100Gr</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945350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6</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Kiri | Total Fromage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9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68014">
                  <a:extLst>
                    <a:ext uri="{9D8B030D-6E8A-4147-A177-3AD203B41FA5}">
                      <a16:colId xmlns:a16="http://schemas.microsoft.com/office/drawing/2014/main" val="2678984805"/>
                    </a:ext>
                  </a:extLst>
                </a:gridCol>
                <a:gridCol w="668014">
                  <a:extLst>
                    <a:ext uri="{9D8B030D-6E8A-4147-A177-3AD203B41FA5}">
                      <a16:colId xmlns:a16="http://schemas.microsoft.com/office/drawing/2014/main" val="4077376227"/>
                    </a:ext>
                  </a:extLst>
                </a:gridCol>
                <a:gridCol w="668014">
                  <a:extLst>
                    <a:ext uri="{9D8B030D-6E8A-4147-A177-3AD203B41FA5}">
                      <a16:colId xmlns:a16="http://schemas.microsoft.com/office/drawing/2014/main" val="3143555463"/>
                    </a:ext>
                  </a:extLst>
                </a:gridCol>
                <a:gridCol w="668014">
                  <a:extLst>
                    <a:ext uri="{9D8B030D-6E8A-4147-A177-3AD203B41FA5}">
                      <a16:colId xmlns:a16="http://schemas.microsoft.com/office/drawing/2014/main" val="2159604574"/>
                    </a:ext>
                  </a:extLst>
                </a:gridCol>
                <a:gridCol w="668014">
                  <a:extLst>
                    <a:ext uri="{9D8B030D-6E8A-4147-A177-3AD203B41FA5}">
                      <a16:colId xmlns:a16="http://schemas.microsoft.com/office/drawing/2014/main" val="3312290703"/>
                    </a:ext>
                  </a:extLst>
                </a:gridCol>
                <a:gridCol w="668014">
                  <a:extLst>
                    <a:ext uri="{9D8B030D-6E8A-4147-A177-3AD203B41FA5}">
                      <a16:colId xmlns:a16="http://schemas.microsoft.com/office/drawing/2014/main" val="2664114771"/>
                    </a:ext>
                  </a:extLst>
                </a:gridCol>
                <a:gridCol w="668014">
                  <a:extLst>
                    <a:ext uri="{9D8B030D-6E8A-4147-A177-3AD203B41FA5}">
                      <a16:colId xmlns:a16="http://schemas.microsoft.com/office/drawing/2014/main" val="1768673043"/>
                    </a:ext>
                  </a:extLst>
                </a:gridCol>
                <a:gridCol w="668014">
                  <a:extLst>
                    <a:ext uri="{9D8B030D-6E8A-4147-A177-3AD203B41FA5}">
                      <a16:colId xmlns:a16="http://schemas.microsoft.com/office/drawing/2014/main" val="3541755291"/>
                    </a:ext>
                  </a:extLst>
                </a:gridCol>
                <a:gridCol w="668014">
                  <a:extLst>
                    <a:ext uri="{9D8B030D-6E8A-4147-A177-3AD203B41FA5}">
                      <a16:colId xmlns:a16="http://schemas.microsoft.com/office/drawing/2014/main" val="288087056"/>
                    </a:ext>
                  </a:extLst>
                </a:gridCol>
                <a:gridCol w="668014">
                  <a:extLst>
                    <a:ext uri="{9D8B030D-6E8A-4147-A177-3AD203B41FA5}">
                      <a16:colId xmlns:a16="http://schemas.microsoft.com/office/drawing/2014/main" val="1379681557"/>
                    </a:ext>
                  </a:extLst>
                </a:gridCol>
                <a:gridCol w="668014">
                  <a:extLst>
                    <a:ext uri="{9D8B030D-6E8A-4147-A177-3AD203B41FA5}">
                      <a16:colId xmlns:a16="http://schemas.microsoft.com/office/drawing/2014/main" val="1446586685"/>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Bio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18+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hevr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Delicieusement Fouette Fromage Frais A Tartiner 1X21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4887965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La Vache Qui Rit | Total Fromage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La Vache Qui Rit Nature Fromage Fondu Boite Ronde 1X512Gr 3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192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384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Pik Et Croq' Fromage Fondu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llegee Fromage Fondu Boite Ronde Allege 1X267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Aro Fromage Fondu Boite Ronde Jambon 1X133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La Vache Qui Rit Nature Fromage Fondu Boite Ronde 1X512Gr 24+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14528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Boursin | Total Fromage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Boursin Classique Fromage Frais A Tartiner Afh 1X160Gr 1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2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Afh Et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Aperitif Roules Fromage Frais Roule Ciboulette &amp; Echalote Jambon Fume Boite 1X100Gr 20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Boite 1X96Gr 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Salade &amp; Aperitif Fromage Frais Des Afh 1X12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Onctueux Fromage Frais A Tartiner Afh 1X125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Figue Et 3 Noix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Ciboulette &amp; Echalot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Afh 1X256Gr 1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Boursin Classique Fromage Frais A Tartiner Poivre Boite 1X150Gr 1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6.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278630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9</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pPr>
              <a:defRPr sz="1200">
                <a:latin typeface="Nexa Bold (Headings)"/>
              </a:defRPr>
            </a:pPr>
            <a:r>
              <a:t>Product Spending pool split | Kiri | Enfant | Intermarche | P12M</a:t>
            </a:r>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09998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918518">
                  <a:extLst>
                    <a:ext uri="{9D8B030D-6E8A-4147-A177-3AD203B41FA5}">
                      <a16:colId xmlns:a16="http://schemas.microsoft.com/office/drawing/2014/main" val="2678984805"/>
                    </a:ext>
                  </a:extLst>
                </a:gridCol>
                <a:gridCol w="918518">
                  <a:extLst>
                    <a:ext uri="{9D8B030D-6E8A-4147-A177-3AD203B41FA5}">
                      <a16:colId xmlns:a16="http://schemas.microsoft.com/office/drawing/2014/main" val="4077376227"/>
                    </a:ext>
                  </a:extLst>
                </a:gridCol>
                <a:gridCol w="918518">
                  <a:extLst>
                    <a:ext uri="{9D8B030D-6E8A-4147-A177-3AD203B41FA5}">
                      <a16:colId xmlns:a16="http://schemas.microsoft.com/office/drawing/2014/main" val="3143555463"/>
                    </a:ext>
                  </a:extLst>
                </a:gridCol>
                <a:gridCol w="918518">
                  <a:extLst>
                    <a:ext uri="{9D8B030D-6E8A-4147-A177-3AD203B41FA5}">
                      <a16:colId xmlns:a16="http://schemas.microsoft.com/office/drawing/2014/main" val="2159604574"/>
                    </a:ext>
                  </a:extLst>
                </a:gridCol>
                <a:gridCol w="918518">
                  <a:extLst>
                    <a:ext uri="{9D8B030D-6E8A-4147-A177-3AD203B41FA5}">
                      <a16:colId xmlns:a16="http://schemas.microsoft.com/office/drawing/2014/main" val="3312290703"/>
                    </a:ext>
                  </a:extLst>
                </a:gridCol>
                <a:gridCol w="918518">
                  <a:extLst>
                    <a:ext uri="{9D8B030D-6E8A-4147-A177-3AD203B41FA5}">
                      <a16:colId xmlns:a16="http://schemas.microsoft.com/office/drawing/2014/main" val="2664114771"/>
                    </a:ext>
                  </a:extLst>
                </a:gridCol>
                <a:gridCol w="918518">
                  <a:extLst>
                    <a:ext uri="{9D8B030D-6E8A-4147-A177-3AD203B41FA5}">
                      <a16:colId xmlns:a16="http://schemas.microsoft.com/office/drawing/2014/main" val="1768673043"/>
                    </a:ext>
                  </a:extLst>
                </a:gridCol>
                <a:gridCol w="918518">
                  <a:extLst>
                    <a:ext uri="{9D8B030D-6E8A-4147-A177-3AD203B41FA5}">
                      <a16:colId xmlns:a16="http://schemas.microsoft.com/office/drawing/2014/main" val="3541755291"/>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ld"/>
                        </a:defRPr>
                      </a:pPr>
                      <a:r>
                        <a:rPr sz="800">
                          <a:latin typeface="Nexa Bold"/>
                        </a:rPr>
                        <a:t>Kiri Creme Fromage Blanc Frais Carre 1X216Gr 12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24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280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Gouter Fromage Blanc Dips Boite 1X175Gr 5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Bio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reme Fromage Blanc Frais Carre 1X432Gr 18+6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ld"/>
                        </a:defRPr>
                      </a:pPr>
                      <a:r>
                        <a:rPr sz="800">
                          <a:latin typeface="Nexa Bold"/>
                        </a:rPr>
                        <a:t>Kiri Chevre Fromage Blanc Frais Carre 1X144Gr 8P</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1.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2%</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defRPr sz="800">
                          <a:latin typeface="Nexa Book"/>
                        </a:defRPr>
                      </a:pPr>
                      <a:r>
                        <a:rPr sz="800">
                          <a:latin typeface="Nexa Book"/>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6%</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2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sz="800">
                          <a:latin typeface="Nexa Book"/>
                        </a:defRPr>
                      </a:pPr>
                      <a:r>
                        <a:rPr sz="800">
                          <a:latin typeface="Nexa Book"/>
                        </a:rPr>
                        <a:t>49%</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1325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4</TotalTime>
  <Words>26019</Words>
  <Application>Microsoft Office PowerPoint</Application>
  <PresentationFormat>On-screen Show (16:9)</PresentationFormat>
  <Paragraphs>9196</Paragraphs>
  <Slides>158</Slides>
  <Notes>10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58</vt:i4>
      </vt:variant>
    </vt:vector>
  </HeadingPairs>
  <TitlesOfParts>
    <vt:vector size="16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Trade Margin Analysis by Retailer (Replace with So What)</vt:lpstr>
      <vt:lpstr>Trade Margin Analysis by Retailer (Replace with So What)</vt:lpstr>
      <vt:lpstr>Trade Margin Analysis by Retailer (Replace with So What)</vt:lpstr>
      <vt:lpstr>Trade Margin Analysis by Retailer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SKU KPIs Summary (Replace with So What)</vt:lpstr>
      <vt:lpstr>Mix Matrix (Replace with So What)</vt:lpstr>
      <vt:lpstr>Mix Matrix (Replace with So What)</vt:lpstr>
      <vt:lpstr>Mix Matrix by brand (Replace with So What)</vt:lpstr>
      <vt:lpstr>Mix Matrix by brand (Replace with So What)</vt:lpstr>
      <vt:lpstr>Mix Matrix by brand (Replace with So What)</vt:lpstr>
      <vt:lpstr>Mix Matrix by brand (Replace with So What)</vt:lpstr>
      <vt:lpstr>Sector Spending pool split (Replace with So What)</vt:lpstr>
      <vt:lpstr>Sector Spending pool split (Replace with So What)</vt:lpstr>
      <vt:lpstr>Segment Spending pool split (Replace with So What)</vt:lpstr>
      <vt:lpstr>Segmen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Product Spending pool split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SKU Profitability Analysis with TM% (Replace with So What)</vt:lpstr>
      <vt:lpstr>Trade margin table vs Competition (Replace with So What) </vt:lpstr>
      <vt:lpstr>Trade margin table vs Competition (Replace with So What) </vt:lpstr>
      <vt:lpstr>Trade margin table vs Competition (Replace with So What) </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Aleaa SALAH</cp:lastModifiedBy>
  <cp:revision>55</cp:revision>
  <dcterms:created xsi:type="dcterms:W3CDTF">2024-07-05T15:31:56Z</dcterms:created>
  <dcterms:modified xsi:type="dcterms:W3CDTF">2025-09-15T09:1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